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Lst>
  <p:sldSz cx="12192000" cy="6858000"/>
  <p:notesSz cx="6858000" cy="9144000"/>
  <p:defaultTextStyle>
    <a:defPPr>
      <a:defRPr lang="en-P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heer Khan" initials="SK" lastIdx="1" clrIdx="0">
    <p:extLst>
      <p:ext uri="{19B8F6BF-5375-455C-9EA6-DF929625EA0E}">
        <p15:presenceInfo xmlns:p15="http://schemas.microsoft.com/office/powerpoint/2012/main" userId="8a5e12949d27ef0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2A3442"/>
    <a:srgbClr val="333F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16" autoAdjust="0"/>
    <p:restoredTop sz="94660"/>
  </p:normalViewPr>
  <p:slideViewPr>
    <p:cSldViewPr snapToGrid="0" showGuides="1">
      <p:cViewPr>
        <p:scale>
          <a:sx n="75" d="100"/>
          <a:sy n="75" d="100"/>
        </p:scale>
        <p:origin x="2244" y="86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611365728044326E-2"/>
          <c:y val="0.19503251964221763"/>
          <c:w val="0.96240162128494267"/>
          <c:h val="0.69237302748805107"/>
        </c:manualLayout>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398A-4AE5-A1EF-94C6ACFDB0D9}"/>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398A-4AE5-A1EF-94C6ACFDB0D9}"/>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398A-4AE5-A1EF-94C6ACFDB0D9}"/>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398A-4AE5-A1EF-94C6ACFDB0D9}"/>
              </c:ext>
            </c:extLst>
          </c:dPt>
          <c:cat>
            <c:numRef>
              <c:f>Sheet1!$A$2:$A$5</c:f>
              <c:numCache>
                <c:formatCode>General</c:formatCode>
                <c:ptCount val="4"/>
                <c:pt idx="0">
                  <c:v>1</c:v>
                </c:pt>
                <c:pt idx="1">
                  <c:v>2</c:v>
                </c:pt>
                <c:pt idx="2">
                  <c:v>3</c:v>
                </c:pt>
                <c:pt idx="3">
                  <c:v>4</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8-398A-4AE5-A1EF-94C6ACFDB0D9}"/>
            </c:ext>
          </c:extLst>
        </c:ser>
        <c:dLbls>
          <c:showLegendKey val="0"/>
          <c:showVal val="0"/>
          <c:showCatName val="0"/>
          <c:showSerName val="0"/>
          <c:showPercent val="0"/>
          <c:showBubbleSize val="0"/>
        </c:dLbls>
        <c:gapWidth val="85"/>
        <c:axId val="867428368"/>
        <c:axId val="867431088"/>
      </c:barChart>
      <c:catAx>
        <c:axId val="867428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Barlow" panose="00000500000000000000" pitchFamily="50" charset="0"/>
                <a:ea typeface="+mn-ea"/>
                <a:cs typeface="+mn-cs"/>
              </a:defRPr>
            </a:pPr>
            <a:endParaRPr lang="en-PK"/>
          </a:p>
        </c:txPr>
        <c:crossAx val="867431088"/>
        <c:crosses val="autoZero"/>
        <c:auto val="1"/>
        <c:lblAlgn val="ctr"/>
        <c:lblOffset val="100"/>
        <c:noMultiLvlLbl val="0"/>
      </c:catAx>
      <c:valAx>
        <c:axId val="86743108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Barlow" panose="00000500000000000000" pitchFamily="50" charset="0"/>
                <a:ea typeface="+mn-ea"/>
                <a:cs typeface="+mn-cs"/>
              </a:defRPr>
            </a:pPr>
            <a:endParaRPr lang="en-PK"/>
          </a:p>
        </c:txPr>
        <c:crossAx val="867428368"/>
        <c:crosses val="autoZero"/>
        <c:crossBetween val="between"/>
      </c:valAx>
      <c:spPr>
        <a:noFill/>
        <a:ln>
          <a:noFill/>
        </a:ln>
        <a:effectLst/>
      </c:spPr>
    </c:plotArea>
    <c:legend>
      <c:legendPos val="b"/>
      <c:layout>
        <c:manualLayout>
          <c:xMode val="edge"/>
          <c:yMode val="edge"/>
          <c:x val="3.1660077425018064E-2"/>
          <c:y val="4.2807433313731623E-2"/>
          <c:w val="0.69154204732045443"/>
          <c:h val="0.1149095153666915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Barlow" panose="00000500000000000000" pitchFamily="50" charset="0"/>
              <a:ea typeface="+mn-ea"/>
              <a:cs typeface="+mn-cs"/>
            </a:defRPr>
          </a:pPr>
          <a:endParaRPr lang="en-PK"/>
        </a:p>
      </c:txPr>
    </c:legend>
    <c:plotVisOnly val="1"/>
    <c:dispBlanksAs val="gap"/>
    <c:showDLblsOverMax val="0"/>
  </c:chart>
  <c:spPr>
    <a:noFill/>
    <a:ln>
      <a:noFill/>
    </a:ln>
    <a:effectLst/>
  </c:spPr>
  <c:txPr>
    <a:bodyPr/>
    <a:lstStyle/>
    <a:p>
      <a:pPr>
        <a:defRPr/>
      </a:pPr>
      <a:endParaRPr lang="en-P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D4D753-F9A9-42AD-860C-03466F0BB80E}"/>
              </a:ext>
            </a:extLst>
          </p:cNvPr>
          <p:cNvSpPr>
            <a:spLocks noGrp="1"/>
          </p:cNvSpPr>
          <p:nvPr>
            <p:ph type="pic" sz="quarter" idx="10"/>
          </p:nvPr>
        </p:nvSpPr>
        <p:spPr>
          <a:xfrm>
            <a:off x="0" y="0"/>
            <a:ext cx="12192000" cy="6665913"/>
          </a:xfrm>
          <a:prstGeom prst="rect">
            <a:avLst/>
          </a:prstGeom>
        </p:spPr>
        <p:txBody>
          <a:bodyPr/>
          <a:lstStyle/>
          <a:p>
            <a:endParaRPr lang="en-PK"/>
          </a:p>
        </p:txBody>
      </p:sp>
    </p:spTree>
    <p:extLst>
      <p:ext uri="{BB962C8B-B14F-4D97-AF65-F5344CB8AC3E}">
        <p14:creationId xmlns:p14="http://schemas.microsoft.com/office/powerpoint/2010/main" val="31279645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0AD235B3-DD41-4764-A430-5AA480BE8A2A}"/>
              </a:ext>
            </a:extLst>
          </p:cNvPr>
          <p:cNvSpPr>
            <a:spLocks noGrp="1"/>
          </p:cNvSpPr>
          <p:nvPr>
            <p:ph type="pic" sz="quarter" idx="13"/>
          </p:nvPr>
        </p:nvSpPr>
        <p:spPr>
          <a:xfrm>
            <a:off x="0" y="0"/>
            <a:ext cx="12192000" cy="6032500"/>
          </a:xfrm>
          <a:prstGeom prst="rect">
            <a:avLst/>
          </a:prstGeom>
        </p:spPr>
      </p:sp>
    </p:spTree>
    <p:extLst>
      <p:ext uri="{BB962C8B-B14F-4D97-AF65-F5344CB8AC3E}">
        <p14:creationId xmlns:p14="http://schemas.microsoft.com/office/powerpoint/2010/main" val="2470943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736ED0-39D3-4CFD-83A1-50C8AC60B07B}"/>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PK"/>
          </a:p>
        </p:txBody>
      </p:sp>
      <p:sp>
        <p:nvSpPr>
          <p:cNvPr id="3" name="Vertical Text Placeholder 2">
            <a:extLst>
              <a:ext uri="{FF2B5EF4-FFF2-40B4-BE49-F238E27FC236}">
                <a16:creationId xmlns:a16="http://schemas.microsoft.com/office/drawing/2014/main" id="{646E7E11-EDFD-47D1-BA4A-1D5E18E7C61C}"/>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K"/>
          </a:p>
        </p:txBody>
      </p:sp>
      <p:sp>
        <p:nvSpPr>
          <p:cNvPr id="4" name="Date Placeholder 3">
            <a:extLst>
              <a:ext uri="{FF2B5EF4-FFF2-40B4-BE49-F238E27FC236}">
                <a16:creationId xmlns:a16="http://schemas.microsoft.com/office/drawing/2014/main" id="{88E0BB40-1FE2-4801-876B-0C55EB4310FC}"/>
              </a:ext>
            </a:extLst>
          </p:cNvPr>
          <p:cNvSpPr>
            <a:spLocks noGrp="1"/>
          </p:cNvSpPr>
          <p:nvPr>
            <p:ph type="dt" sz="half" idx="10"/>
          </p:nvPr>
        </p:nvSpPr>
        <p:spPr>
          <a:xfrm>
            <a:off x="838200" y="6356350"/>
            <a:ext cx="2743200" cy="365125"/>
          </a:xfrm>
          <a:prstGeom prst="rect">
            <a:avLst/>
          </a:prstGeom>
        </p:spPr>
        <p:txBody>
          <a:bodyPr/>
          <a:lstStyle/>
          <a:p>
            <a:fld id="{2E00377B-4DBC-4D27-AA61-C2B6C8264454}" type="datetimeFigureOut">
              <a:rPr lang="en-PK" smtClean="0"/>
              <a:t>18/07/2019</a:t>
            </a:fld>
            <a:endParaRPr lang="en-PK"/>
          </a:p>
        </p:txBody>
      </p:sp>
      <p:sp>
        <p:nvSpPr>
          <p:cNvPr id="5" name="Footer Placeholder 4">
            <a:extLst>
              <a:ext uri="{FF2B5EF4-FFF2-40B4-BE49-F238E27FC236}">
                <a16:creationId xmlns:a16="http://schemas.microsoft.com/office/drawing/2014/main" id="{98173A4E-939A-4204-A8D5-D3FBD42549AB}"/>
              </a:ext>
            </a:extLst>
          </p:cNvPr>
          <p:cNvSpPr>
            <a:spLocks noGrp="1"/>
          </p:cNvSpPr>
          <p:nvPr>
            <p:ph type="ftr" sz="quarter" idx="11"/>
          </p:nvPr>
        </p:nvSpPr>
        <p:spPr>
          <a:xfrm>
            <a:off x="4038600" y="6356350"/>
            <a:ext cx="4114800" cy="365125"/>
          </a:xfrm>
          <a:prstGeom prst="rect">
            <a:avLst/>
          </a:prstGeom>
        </p:spPr>
        <p:txBody>
          <a:bodyPr/>
          <a:lstStyle/>
          <a:p>
            <a:endParaRPr lang="en-PK"/>
          </a:p>
        </p:txBody>
      </p:sp>
      <p:sp>
        <p:nvSpPr>
          <p:cNvPr id="6" name="Slide Number Placeholder 5">
            <a:extLst>
              <a:ext uri="{FF2B5EF4-FFF2-40B4-BE49-F238E27FC236}">
                <a16:creationId xmlns:a16="http://schemas.microsoft.com/office/drawing/2014/main" id="{1C3BEEDC-09FE-4044-8CDC-58DD423B147D}"/>
              </a:ext>
            </a:extLst>
          </p:cNvPr>
          <p:cNvSpPr>
            <a:spLocks noGrp="1"/>
          </p:cNvSpPr>
          <p:nvPr>
            <p:ph type="sldNum" sz="quarter" idx="12"/>
          </p:nvPr>
        </p:nvSpPr>
        <p:spPr>
          <a:xfrm>
            <a:off x="8610600" y="6356350"/>
            <a:ext cx="2743200" cy="365125"/>
          </a:xfrm>
          <a:prstGeom prst="rect">
            <a:avLst/>
          </a:prstGeom>
        </p:spPr>
        <p:txBody>
          <a:bodyPr/>
          <a:lstStyle/>
          <a:p>
            <a:fld id="{01B9CDDA-6051-4FC6-B354-9B4A8AB2D277}" type="slidenum">
              <a:rPr lang="en-PK" smtClean="0"/>
              <a:t>‹#›</a:t>
            </a:fld>
            <a:endParaRPr lang="en-PK"/>
          </a:p>
        </p:txBody>
      </p:sp>
    </p:spTree>
    <p:extLst>
      <p:ext uri="{BB962C8B-B14F-4D97-AF65-F5344CB8AC3E}">
        <p14:creationId xmlns:p14="http://schemas.microsoft.com/office/powerpoint/2010/main" val="3448302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C3AA308F-69F8-4E3E-B635-ECB97D669315}"/>
              </a:ext>
            </a:extLst>
          </p:cNvPr>
          <p:cNvSpPr>
            <a:spLocks noGrp="1"/>
          </p:cNvSpPr>
          <p:nvPr>
            <p:ph type="pic" sz="quarter" idx="13"/>
          </p:nvPr>
        </p:nvSpPr>
        <p:spPr>
          <a:xfrm>
            <a:off x="914049" y="988687"/>
            <a:ext cx="4753326" cy="4823476"/>
          </a:xfrm>
          <a:prstGeom prst="rect">
            <a:avLst/>
          </a:prstGeom>
          <a:solidFill>
            <a:schemeClr val="bg1">
              <a:lumMod val="85000"/>
            </a:schemeClr>
          </a:solidFill>
        </p:spPr>
      </p:sp>
    </p:spTree>
    <p:extLst>
      <p:ext uri="{BB962C8B-B14F-4D97-AF65-F5344CB8AC3E}">
        <p14:creationId xmlns:p14="http://schemas.microsoft.com/office/powerpoint/2010/main" val="3900782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47BCA99D-CD04-47DF-96B9-E72CA0891E89}"/>
              </a:ext>
            </a:extLst>
          </p:cNvPr>
          <p:cNvSpPr>
            <a:spLocks noGrp="1"/>
          </p:cNvSpPr>
          <p:nvPr>
            <p:ph type="pic" sz="quarter" idx="13"/>
          </p:nvPr>
        </p:nvSpPr>
        <p:spPr>
          <a:xfrm>
            <a:off x="0" y="1701221"/>
            <a:ext cx="12192000" cy="4264108"/>
          </a:xfrm>
          <a:prstGeom prst="rect">
            <a:avLst/>
          </a:prstGeom>
          <a:solidFill>
            <a:schemeClr val="bg1">
              <a:lumMod val="85000"/>
            </a:schemeClr>
          </a:solidFill>
        </p:spPr>
      </p:sp>
    </p:spTree>
    <p:extLst>
      <p:ext uri="{BB962C8B-B14F-4D97-AF65-F5344CB8AC3E}">
        <p14:creationId xmlns:p14="http://schemas.microsoft.com/office/powerpoint/2010/main" val="4228980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8" name="Picture Placeholder 4">
            <a:extLst>
              <a:ext uri="{FF2B5EF4-FFF2-40B4-BE49-F238E27FC236}">
                <a16:creationId xmlns:a16="http://schemas.microsoft.com/office/drawing/2014/main" id="{D9B056FF-D939-40DA-83DF-1C3CF9EAF897}"/>
              </a:ext>
            </a:extLst>
          </p:cNvPr>
          <p:cNvSpPr>
            <a:spLocks noGrp="1"/>
          </p:cNvSpPr>
          <p:nvPr>
            <p:ph type="pic" sz="quarter" idx="14"/>
          </p:nvPr>
        </p:nvSpPr>
        <p:spPr>
          <a:xfrm>
            <a:off x="901220" y="777236"/>
            <a:ext cx="4846437" cy="5100327"/>
          </a:xfrm>
          <a:prstGeom prst="rect">
            <a:avLst/>
          </a:prstGeom>
          <a:solidFill>
            <a:schemeClr val="bg1">
              <a:lumMod val="85000"/>
            </a:schemeClr>
          </a:solidFill>
        </p:spPr>
      </p:sp>
    </p:spTree>
    <p:extLst>
      <p:ext uri="{BB962C8B-B14F-4D97-AF65-F5344CB8AC3E}">
        <p14:creationId xmlns:p14="http://schemas.microsoft.com/office/powerpoint/2010/main" val="2696185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4" name="Picture Placeholder 2">
            <a:extLst>
              <a:ext uri="{FF2B5EF4-FFF2-40B4-BE49-F238E27FC236}">
                <a16:creationId xmlns:a16="http://schemas.microsoft.com/office/drawing/2014/main" id="{378A51D4-6E87-4ED0-8BFB-52CA8567B45F}"/>
              </a:ext>
            </a:extLst>
          </p:cNvPr>
          <p:cNvSpPr>
            <a:spLocks noGrp="1"/>
          </p:cNvSpPr>
          <p:nvPr>
            <p:ph type="pic" sz="quarter" idx="13"/>
          </p:nvPr>
        </p:nvSpPr>
        <p:spPr>
          <a:xfrm>
            <a:off x="0" y="3937000"/>
            <a:ext cx="12192000" cy="2921000"/>
          </a:xfrm>
          <a:prstGeom prst="rect">
            <a:avLst/>
          </a:prstGeom>
        </p:spPr>
      </p:sp>
    </p:spTree>
    <p:extLst>
      <p:ext uri="{BB962C8B-B14F-4D97-AF65-F5344CB8AC3E}">
        <p14:creationId xmlns:p14="http://schemas.microsoft.com/office/powerpoint/2010/main" val="3231233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7458D-AADF-4361-A304-039EB897B49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PK"/>
          </a:p>
        </p:txBody>
      </p:sp>
      <p:sp>
        <p:nvSpPr>
          <p:cNvPr id="3" name="Date Placeholder 2">
            <a:extLst>
              <a:ext uri="{FF2B5EF4-FFF2-40B4-BE49-F238E27FC236}">
                <a16:creationId xmlns:a16="http://schemas.microsoft.com/office/drawing/2014/main" id="{77BD7158-2D6D-41A4-B553-EAD6C8464B77}"/>
              </a:ext>
            </a:extLst>
          </p:cNvPr>
          <p:cNvSpPr>
            <a:spLocks noGrp="1"/>
          </p:cNvSpPr>
          <p:nvPr>
            <p:ph type="dt" sz="half" idx="10"/>
          </p:nvPr>
        </p:nvSpPr>
        <p:spPr>
          <a:xfrm>
            <a:off x="838200" y="6356350"/>
            <a:ext cx="2743200" cy="365125"/>
          </a:xfrm>
          <a:prstGeom prst="rect">
            <a:avLst/>
          </a:prstGeom>
        </p:spPr>
        <p:txBody>
          <a:bodyPr/>
          <a:lstStyle/>
          <a:p>
            <a:fld id="{2E00377B-4DBC-4D27-AA61-C2B6C8264454}" type="datetimeFigureOut">
              <a:rPr lang="en-PK" smtClean="0"/>
              <a:t>18/07/2019</a:t>
            </a:fld>
            <a:endParaRPr lang="en-PK"/>
          </a:p>
        </p:txBody>
      </p:sp>
      <p:sp>
        <p:nvSpPr>
          <p:cNvPr id="4" name="Footer Placeholder 3">
            <a:extLst>
              <a:ext uri="{FF2B5EF4-FFF2-40B4-BE49-F238E27FC236}">
                <a16:creationId xmlns:a16="http://schemas.microsoft.com/office/drawing/2014/main" id="{203BB1D0-F7D2-4774-A796-B1B98131CBBA}"/>
              </a:ext>
            </a:extLst>
          </p:cNvPr>
          <p:cNvSpPr>
            <a:spLocks noGrp="1"/>
          </p:cNvSpPr>
          <p:nvPr>
            <p:ph type="ftr" sz="quarter" idx="11"/>
          </p:nvPr>
        </p:nvSpPr>
        <p:spPr>
          <a:xfrm>
            <a:off x="4038600" y="6356350"/>
            <a:ext cx="4114800" cy="365125"/>
          </a:xfrm>
          <a:prstGeom prst="rect">
            <a:avLst/>
          </a:prstGeom>
        </p:spPr>
        <p:txBody>
          <a:bodyPr/>
          <a:lstStyle/>
          <a:p>
            <a:endParaRPr lang="en-PK"/>
          </a:p>
        </p:txBody>
      </p:sp>
      <p:sp>
        <p:nvSpPr>
          <p:cNvPr id="5" name="Slide Number Placeholder 4">
            <a:extLst>
              <a:ext uri="{FF2B5EF4-FFF2-40B4-BE49-F238E27FC236}">
                <a16:creationId xmlns:a16="http://schemas.microsoft.com/office/drawing/2014/main" id="{5907B2F0-B38E-4A23-A847-BC6FF41FD83C}"/>
              </a:ext>
            </a:extLst>
          </p:cNvPr>
          <p:cNvSpPr>
            <a:spLocks noGrp="1"/>
          </p:cNvSpPr>
          <p:nvPr>
            <p:ph type="sldNum" sz="quarter" idx="12"/>
          </p:nvPr>
        </p:nvSpPr>
        <p:spPr>
          <a:xfrm>
            <a:off x="8610600" y="6356350"/>
            <a:ext cx="2743200" cy="365125"/>
          </a:xfrm>
          <a:prstGeom prst="rect">
            <a:avLst/>
          </a:prstGeom>
        </p:spPr>
        <p:txBody>
          <a:bodyPr/>
          <a:lstStyle/>
          <a:p>
            <a:fld id="{01B9CDDA-6051-4FC6-B354-9B4A8AB2D277}" type="slidenum">
              <a:rPr lang="en-PK" smtClean="0"/>
              <a:t>‹#›</a:t>
            </a:fld>
            <a:endParaRPr lang="en-PK"/>
          </a:p>
        </p:txBody>
      </p:sp>
    </p:spTree>
    <p:extLst>
      <p:ext uri="{BB962C8B-B14F-4D97-AF65-F5344CB8AC3E}">
        <p14:creationId xmlns:p14="http://schemas.microsoft.com/office/powerpoint/2010/main" val="912911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3B71A-9B38-4645-8728-10209DD9B7AB}"/>
              </a:ext>
            </a:extLst>
          </p:cNvPr>
          <p:cNvSpPr>
            <a:spLocks noGrp="1"/>
          </p:cNvSpPr>
          <p:nvPr>
            <p:ph type="dt" sz="half" idx="10"/>
          </p:nvPr>
        </p:nvSpPr>
        <p:spPr>
          <a:xfrm>
            <a:off x="838200" y="6356350"/>
            <a:ext cx="2743200" cy="365125"/>
          </a:xfrm>
          <a:prstGeom prst="rect">
            <a:avLst/>
          </a:prstGeom>
        </p:spPr>
        <p:txBody>
          <a:bodyPr/>
          <a:lstStyle/>
          <a:p>
            <a:fld id="{2E00377B-4DBC-4D27-AA61-C2B6C8264454}" type="datetimeFigureOut">
              <a:rPr lang="en-PK" smtClean="0"/>
              <a:t>18/07/2019</a:t>
            </a:fld>
            <a:endParaRPr lang="en-PK"/>
          </a:p>
        </p:txBody>
      </p:sp>
      <p:sp>
        <p:nvSpPr>
          <p:cNvPr id="3" name="Footer Placeholder 2">
            <a:extLst>
              <a:ext uri="{FF2B5EF4-FFF2-40B4-BE49-F238E27FC236}">
                <a16:creationId xmlns:a16="http://schemas.microsoft.com/office/drawing/2014/main" id="{772D769A-D27D-4140-B630-5D2BBFFF11C0}"/>
              </a:ext>
            </a:extLst>
          </p:cNvPr>
          <p:cNvSpPr>
            <a:spLocks noGrp="1"/>
          </p:cNvSpPr>
          <p:nvPr>
            <p:ph type="ftr" sz="quarter" idx="11"/>
          </p:nvPr>
        </p:nvSpPr>
        <p:spPr>
          <a:xfrm>
            <a:off x="4038600" y="6356350"/>
            <a:ext cx="4114800" cy="365125"/>
          </a:xfrm>
          <a:prstGeom prst="rect">
            <a:avLst/>
          </a:prstGeom>
        </p:spPr>
        <p:txBody>
          <a:bodyPr/>
          <a:lstStyle/>
          <a:p>
            <a:endParaRPr lang="en-PK"/>
          </a:p>
        </p:txBody>
      </p:sp>
      <p:sp>
        <p:nvSpPr>
          <p:cNvPr id="4" name="Slide Number Placeholder 3">
            <a:extLst>
              <a:ext uri="{FF2B5EF4-FFF2-40B4-BE49-F238E27FC236}">
                <a16:creationId xmlns:a16="http://schemas.microsoft.com/office/drawing/2014/main" id="{B41C6D2D-0601-4BE9-B4D5-F5D263BA240E}"/>
              </a:ext>
            </a:extLst>
          </p:cNvPr>
          <p:cNvSpPr>
            <a:spLocks noGrp="1"/>
          </p:cNvSpPr>
          <p:nvPr>
            <p:ph type="sldNum" sz="quarter" idx="12"/>
          </p:nvPr>
        </p:nvSpPr>
        <p:spPr>
          <a:xfrm>
            <a:off x="8610600" y="6356350"/>
            <a:ext cx="2743200" cy="365125"/>
          </a:xfrm>
          <a:prstGeom prst="rect">
            <a:avLst/>
          </a:prstGeom>
        </p:spPr>
        <p:txBody>
          <a:bodyPr/>
          <a:lstStyle/>
          <a:p>
            <a:fld id="{01B9CDDA-6051-4FC6-B354-9B4A8AB2D277}" type="slidenum">
              <a:rPr lang="en-PK" smtClean="0"/>
              <a:t>‹#›</a:t>
            </a:fld>
            <a:endParaRPr lang="en-PK"/>
          </a:p>
        </p:txBody>
      </p:sp>
    </p:spTree>
    <p:extLst>
      <p:ext uri="{BB962C8B-B14F-4D97-AF65-F5344CB8AC3E}">
        <p14:creationId xmlns:p14="http://schemas.microsoft.com/office/powerpoint/2010/main" val="334876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143CFD81-14EB-410B-A816-6D64205B54C2}"/>
              </a:ext>
            </a:extLst>
          </p:cNvPr>
          <p:cNvSpPr>
            <a:spLocks noGrp="1"/>
          </p:cNvSpPr>
          <p:nvPr>
            <p:ph type="pic" sz="quarter" idx="13"/>
          </p:nvPr>
        </p:nvSpPr>
        <p:spPr>
          <a:xfrm>
            <a:off x="1" y="1612900"/>
            <a:ext cx="6487592" cy="4549774"/>
          </a:xfrm>
          <a:prstGeom prst="rect">
            <a:avLst/>
          </a:prstGeom>
          <a:solidFill>
            <a:schemeClr val="bg1">
              <a:lumMod val="85000"/>
            </a:schemeClr>
          </a:solidFill>
        </p:spPr>
      </p:sp>
    </p:spTree>
    <p:extLst>
      <p:ext uri="{BB962C8B-B14F-4D97-AF65-F5344CB8AC3E}">
        <p14:creationId xmlns:p14="http://schemas.microsoft.com/office/powerpoint/2010/main" val="25315407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E8E1DF2A-3F65-4C0B-809F-73E185493D33}"/>
              </a:ext>
            </a:extLst>
          </p:cNvPr>
          <p:cNvSpPr>
            <a:spLocks noGrp="1"/>
          </p:cNvSpPr>
          <p:nvPr>
            <p:ph type="pic" sz="quarter" idx="14"/>
          </p:nvPr>
        </p:nvSpPr>
        <p:spPr>
          <a:xfrm>
            <a:off x="5513" y="759566"/>
            <a:ext cx="3177244" cy="5961908"/>
          </a:xfrm>
          <a:custGeom>
            <a:avLst/>
            <a:gdLst>
              <a:gd name="connsiteX0" fmla="*/ 193573 w 3177244"/>
              <a:gd name="connsiteY0" fmla="*/ 0 h 5961908"/>
              <a:gd name="connsiteX1" fmla="*/ 3177244 w 3177244"/>
              <a:gd name="connsiteY1" fmla="*/ 2983670 h 5961908"/>
              <a:gd name="connsiteX2" fmla="*/ 498636 w 3177244"/>
              <a:gd name="connsiteY2" fmla="*/ 5951936 h 5961908"/>
              <a:gd name="connsiteX3" fmla="*/ 301148 w 3177244"/>
              <a:gd name="connsiteY3" fmla="*/ 5961908 h 5961908"/>
              <a:gd name="connsiteX4" fmla="*/ 19652 w 3177244"/>
              <a:gd name="connsiteY4" fmla="*/ 5961908 h 5961908"/>
              <a:gd name="connsiteX5" fmla="*/ 0 w 3177244"/>
              <a:gd name="connsiteY5" fmla="*/ 5960414 h 5961908"/>
              <a:gd name="connsiteX6" fmla="*/ 0 w 3177244"/>
              <a:gd name="connsiteY6" fmla="*/ 6927 h 5961908"/>
              <a:gd name="connsiteX7" fmla="*/ 40035 w 3177244"/>
              <a:gd name="connsiteY7" fmla="*/ 3882 h 5961908"/>
              <a:gd name="connsiteX8" fmla="*/ 193573 w 3177244"/>
              <a:gd name="connsiteY8" fmla="*/ 0 h 596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7244" h="5961908">
                <a:moveTo>
                  <a:pt x="193573" y="0"/>
                </a:moveTo>
                <a:cubicBezTo>
                  <a:pt x="1841409" y="0"/>
                  <a:pt x="3177244" y="1335835"/>
                  <a:pt x="3177244" y="2983670"/>
                </a:cubicBezTo>
                <a:cubicBezTo>
                  <a:pt x="3177244" y="4528516"/>
                  <a:pt x="2003171" y="5799142"/>
                  <a:pt x="498636" y="5951936"/>
                </a:cubicBezTo>
                <a:lnTo>
                  <a:pt x="301148" y="5961908"/>
                </a:lnTo>
                <a:lnTo>
                  <a:pt x="19652" y="5961908"/>
                </a:lnTo>
                <a:lnTo>
                  <a:pt x="0" y="5960414"/>
                </a:lnTo>
                <a:lnTo>
                  <a:pt x="0" y="6927"/>
                </a:lnTo>
                <a:lnTo>
                  <a:pt x="40035" y="3882"/>
                </a:lnTo>
                <a:cubicBezTo>
                  <a:pt x="90889" y="1305"/>
                  <a:pt x="142079" y="0"/>
                  <a:pt x="193573" y="0"/>
                </a:cubicBezTo>
                <a:close/>
              </a:path>
            </a:pathLst>
          </a:custGeom>
        </p:spPr>
      </p:sp>
      <p:sp>
        <p:nvSpPr>
          <p:cNvPr id="39" name="Picture Placeholder 2">
            <a:extLst>
              <a:ext uri="{FF2B5EF4-FFF2-40B4-BE49-F238E27FC236}">
                <a16:creationId xmlns:a16="http://schemas.microsoft.com/office/drawing/2014/main" id="{BD8D396F-86A9-43C1-A1BD-A64158D7DB4E}"/>
              </a:ext>
            </a:extLst>
          </p:cNvPr>
          <p:cNvSpPr>
            <a:spLocks noGrp="1"/>
          </p:cNvSpPr>
          <p:nvPr>
            <p:ph type="pic" sz="quarter" idx="13"/>
          </p:nvPr>
        </p:nvSpPr>
        <p:spPr>
          <a:xfrm>
            <a:off x="6586930" y="2035631"/>
            <a:ext cx="4957369" cy="1821748"/>
          </a:xfrm>
          <a:prstGeom prst="rect">
            <a:avLst/>
          </a:prstGeom>
          <a:solidFill>
            <a:schemeClr val="bg1">
              <a:lumMod val="85000"/>
            </a:schemeClr>
          </a:solidFill>
        </p:spPr>
      </p:sp>
    </p:spTree>
    <p:extLst>
      <p:ext uri="{BB962C8B-B14F-4D97-AF65-F5344CB8AC3E}">
        <p14:creationId xmlns:p14="http://schemas.microsoft.com/office/powerpoint/2010/main" val="572280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7447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P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0" userDrawn="1">
          <p15:clr>
            <a:srgbClr val="F26B43"/>
          </p15:clr>
        </p15:guide>
        <p15:guide id="4" pos="7310" userDrawn="1">
          <p15:clr>
            <a:srgbClr val="F26B43"/>
          </p15:clr>
        </p15:guide>
        <p15:guide id="5" orient="horz" pos="278" userDrawn="1">
          <p15:clr>
            <a:srgbClr val="F26B43"/>
          </p15:clr>
        </p15:guide>
        <p15:guide id="6" orient="horz" pos="404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10.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214728E2-C215-4CF6-A9BC-CAAACF3F8DB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9048" b="9048"/>
          <a:stretch>
            <a:fillRect/>
          </a:stretch>
        </p:blipFill>
        <p:spPr/>
      </p:pic>
      <p:sp>
        <p:nvSpPr>
          <p:cNvPr id="17" name="Rectangle 16">
            <a:extLst>
              <a:ext uri="{FF2B5EF4-FFF2-40B4-BE49-F238E27FC236}">
                <a16:creationId xmlns:a16="http://schemas.microsoft.com/office/drawing/2014/main" id="{193D8723-13B6-4244-9043-8422963FAD71}"/>
              </a:ext>
            </a:extLst>
          </p:cNvPr>
          <p:cNvSpPr/>
          <p:nvPr/>
        </p:nvSpPr>
        <p:spPr>
          <a:xfrm>
            <a:off x="0" y="0"/>
            <a:ext cx="12192000" cy="6665913"/>
          </a:xfrm>
          <a:prstGeom prst="rect">
            <a:avLst/>
          </a:prstGeom>
          <a:solidFill>
            <a:srgbClr val="4472C4">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grpSp>
        <p:nvGrpSpPr>
          <p:cNvPr id="19" name="Group 18">
            <a:extLst>
              <a:ext uri="{FF2B5EF4-FFF2-40B4-BE49-F238E27FC236}">
                <a16:creationId xmlns:a16="http://schemas.microsoft.com/office/drawing/2014/main" id="{2C82E83F-6B5E-4C74-85F2-7C851A066EA9}"/>
              </a:ext>
            </a:extLst>
          </p:cNvPr>
          <p:cNvGrpSpPr/>
          <p:nvPr/>
        </p:nvGrpSpPr>
        <p:grpSpPr>
          <a:xfrm>
            <a:off x="1548039" y="2504013"/>
            <a:ext cx="9114971" cy="1657886"/>
            <a:chOff x="1548039" y="2504013"/>
            <a:chExt cx="9114971" cy="1657886"/>
          </a:xfrm>
        </p:grpSpPr>
        <p:sp>
          <p:nvSpPr>
            <p:cNvPr id="12" name="Title 11">
              <a:extLst>
                <a:ext uri="{FF2B5EF4-FFF2-40B4-BE49-F238E27FC236}">
                  <a16:creationId xmlns:a16="http://schemas.microsoft.com/office/drawing/2014/main" id="{2B3AF280-C06A-4C9B-B732-6637C510B2FB}"/>
                </a:ext>
              </a:extLst>
            </p:cNvPr>
            <p:cNvSpPr txBox="1">
              <a:spLocks/>
            </p:cNvSpPr>
            <p:nvPr/>
          </p:nvSpPr>
          <p:spPr>
            <a:xfrm>
              <a:off x="2102660" y="2504013"/>
              <a:ext cx="1289244" cy="850496"/>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400" spc="-150" dirty="0">
                  <a:solidFill>
                    <a:srgbClr val="FFFF00"/>
                  </a:solidFill>
                  <a:latin typeface="Freestyle Script" panose="030804020302050B0404" pitchFamily="66" charset="0"/>
                  <a:ea typeface="Roboto" panose="02000000000000000000" pitchFamily="2" charset="0"/>
                  <a:cs typeface="Times New Roman" panose="02020603050405020304" pitchFamily="18" charset="0"/>
                </a:rPr>
                <a:t>Vol.1</a:t>
              </a:r>
            </a:p>
          </p:txBody>
        </p:sp>
        <p:sp>
          <p:nvSpPr>
            <p:cNvPr id="13" name="Rectangle 12">
              <a:extLst>
                <a:ext uri="{FF2B5EF4-FFF2-40B4-BE49-F238E27FC236}">
                  <a16:creationId xmlns:a16="http://schemas.microsoft.com/office/drawing/2014/main" id="{9675FC3C-9C75-4474-8B9C-F2EADAB7E443}"/>
                </a:ext>
              </a:extLst>
            </p:cNvPr>
            <p:cNvSpPr/>
            <p:nvPr/>
          </p:nvSpPr>
          <p:spPr>
            <a:xfrm>
              <a:off x="1548039" y="3359110"/>
              <a:ext cx="9114971" cy="802789"/>
            </a:xfrm>
            <a:prstGeom prst="rect">
              <a:avLst/>
            </a:prstGeom>
          </p:spPr>
          <p:txBody>
            <a:bodyPr vert="horz" wrap="square" lIns="91416" tIns="45708" rIns="91416" bIns="45708" rtlCol="0" anchor="ctr">
              <a:noAutofit/>
            </a:bodyPr>
            <a:lstStyle/>
            <a:p>
              <a:r>
                <a:rPr lang="en-US" sz="7200" dirty="0">
                  <a:solidFill>
                    <a:srgbClr val="FFFF00"/>
                  </a:solidFill>
                  <a:latin typeface="Barlow ExtraBold" panose="00000900000000000000" pitchFamily="2" charset="0"/>
                </a:rPr>
                <a:t>CREATIVE TEMPLATE</a:t>
              </a:r>
              <a:endParaRPr lang="en-PK" sz="7200" dirty="0">
                <a:solidFill>
                  <a:srgbClr val="FFFF00"/>
                </a:solidFill>
                <a:latin typeface="Barlow ExtraBold" panose="00000900000000000000" pitchFamily="2" charset="0"/>
              </a:endParaRPr>
            </a:p>
          </p:txBody>
        </p:sp>
      </p:grpSp>
      <p:sp>
        <p:nvSpPr>
          <p:cNvPr id="6" name="Rectangle 5">
            <a:extLst>
              <a:ext uri="{FF2B5EF4-FFF2-40B4-BE49-F238E27FC236}">
                <a16:creationId xmlns:a16="http://schemas.microsoft.com/office/drawing/2014/main" id="{E6AA3CA4-EF3E-4CAF-A2CC-953BCB4164C9}"/>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ounded Rectangle 23">
            <a:extLst>
              <a:ext uri="{FF2B5EF4-FFF2-40B4-BE49-F238E27FC236}">
                <a16:creationId xmlns:a16="http://schemas.microsoft.com/office/drawing/2014/main" id="{755FD931-94C3-4CE3-84FE-DF91E651A96B}"/>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8" name="Date Placeholder 1">
            <a:extLst>
              <a:ext uri="{FF2B5EF4-FFF2-40B4-BE49-F238E27FC236}">
                <a16:creationId xmlns:a16="http://schemas.microsoft.com/office/drawing/2014/main" id="{4060C3B7-FC4D-43D1-B707-D64701FABA27}"/>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9" name="Straight Connector 8">
            <a:extLst>
              <a:ext uri="{FF2B5EF4-FFF2-40B4-BE49-F238E27FC236}">
                <a16:creationId xmlns:a16="http://schemas.microsoft.com/office/drawing/2014/main" id="{DEA2A020-CD65-4307-BD7D-7262E90274CA}"/>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9DABFEF-D4DD-4831-AD9A-B547FD7161B1}"/>
              </a:ext>
            </a:extLst>
          </p:cNvPr>
          <p:cNvSpPr txBox="1"/>
          <p:nvPr/>
        </p:nvSpPr>
        <p:spPr>
          <a:xfrm>
            <a:off x="6631781" y="6538158"/>
            <a:ext cx="287258" cy="215444"/>
          </a:xfrm>
          <a:prstGeom prst="rect">
            <a:avLst/>
          </a:prstGeom>
          <a:noFill/>
        </p:spPr>
        <p:txBody>
          <a:bodyPr wrap="none" rtlCol="0">
            <a:spAutoFit/>
          </a:bodyPr>
          <a:lstStyle/>
          <a:p>
            <a:r>
              <a:rPr lang="en-US" sz="800" dirty="0">
                <a:latin typeface="Barlow ExtraBold" panose="00000900000000000000" pitchFamily="2" charset="0"/>
              </a:rPr>
              <a:t>01</a:t>
            </a:r>
            <a:endParaRPr lang="en-PK" sz="800" dirty="0">
              <a:latin typeface="Barlow ExtraBold" panose="00000900000000000000" pitchFamily="2" charset="0"/>
            </a:endParaRPr>
          </a:p>
        </p:txBody>
      </p:sp>
    </p:spTree>
    <p:extLst>
      <p:ext uri="{BB962C8B-B14F-4D97-AF65-F5344CB8AC3E}">
        <p14:creationId xmlns:p14="http://schemas.microsoft.com/office/powerpoint/2010/main" val="549668742"/>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D0F3BA3B-E949-4334-A29C-E5C5E1358136}"/>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8998" b="8998"/>
          <a:stretch>
            <a:fillRect/>
          </a:stretch>
        </p:blipFill>
        <p:spPr/>
      </p:pic>
      <p:sp>
        <p:nvSpPr>
          <p:cNvPr id="13" name="Rectangle 12">
            <a:extLst>
              <a:ext uri="{FF2B5EF4-FFF2-40B4-BE49-F238E27FC236}">
                <a16:creationId xmlns:a16="http://schemas.microsoft.com/office/drawing/2014/main" id="{13639E84-C85E-4123-B446-F0B341578623}"/>
              </a:ext>
            </a:extLst>
          </p:cNvPr>
          <p:cNvSpPr/>
          <p:nvPr/>
        </p:nvSpPr>
        <p:spPr>
          <a:xfrm>
            <a:off x="0" y="0"/>
            <a:ext cx="12192000" cy="6665913"/>
          </a:xfrm>
          <a:prstGeom prst="rect">
            <a:avLst/>
          </a:prstGeom>
          <a:solidFill>
            <a:srgbClr val="4472C4">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grpSp>
        <p:nvGrpSpPr>
          <p:cNvPr id="15" name="Group 14">
            <a:extLst>
              <a:ext uri="{FF2B5EF4-FFF2-40B4-BE49-F238E27FC236}">
                <a16:creationId xmlns:a16="http://schemas.microsoft.com/office/drawing/2014/main" id="{51A63311-70E9-4F3A-96E0-06CE401B9F03}"/>
              </a:ext>
            </a:extLst>
          </p:cNvPr>
          <p:cNvGrpSpPr/>
          <p:nvPr/>
        </p:nvGrpSpPr>
        <p:grpSpPr>
          <a:xfrm>
            <a:off x="2061029" y="2176964"/>
            <a:ext cx="8069942" cy="2311461"/>
            <a:chOff x="2061029" y="2176964"/>
            <a:chExt cx="8069942" cy="2311461"/>
          </a:xfrm>
        </p:grpSpPr>
        <p:sp>
          <p:nvSpPr>
            <p:cNvPr id="7" name="Title 11">
              <a:extLst>
                <a:ext uri="{FF2B5EF4-FFF2-40B4-BE49-F238E27FC236}">
                  <a16:creationId xmlns:a16="http://schemas.microsoft.com/office/drawing/2014/main" id="{F4E730EA-E71E-4D13-B494-FD031642A1AC}"/>
                </a:ext>
              </a:extLst>
            </p:cNvPr>
            <p:cNvSpPr txBox="1">
              <a:spLocks/>
            </p:cNvSpPr>
            <p:nvPr/>
          </p:nvSpPr>
          <p:spPr>
            <a:xfrm>
              <a:off x="8841727" y="2176964"/>
              <a:ext cx="1289244" cy="850496"/>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400" spc="-150" dirty="0">
                  <a:solidFill>
                    <a:srgbClr val="FFFF00"/>
                  </a:solidFill>
                  <a:latin typeface="Freestyle Script" panose="030804020302050B0404" pitchFamily="66" charset="0"/>
                  <a:ea typeface="Roboto" panose="02000000000000000000" pitchFamily="2" charset="0"/>
                  <a:cs typeface="Times New Roman" panose="02020603050405020304" pitchFamily="18" charset="0"/>
                </a:rPr>
                <a:t>Vol.1</a:t>
              </a:r>
            </a:p>
          </p:txBody>
        </p:sp>
        <p:sp>
          <p:nvSpPr>
            <p:cNvPr id="8" name="Rectangle 7">
              <a:extLst>
                <a:ext uri="{FF2B5EF4-FFF2-40B4-BE49-F238E27FC236}">
                  <a16:creationId xmlns:a16="http://schemas.microsoft.com/office/drawing/2014/main" id="{33ED89BE-D140-4B87-AA9B-329788E0D635}"/>
                </a:ext>
              </a:extLst>
            </p:cNvPr>
            <p:cNvSpPr/>
            <p:nvPr/>
          </p:nvSpPr>
          <p:spPr>
            <a:xfrm>
              <a:off x="2061029" y="3027606"/>
              <a:ext cx="8069942" cy="802789"/>
            </a:xfrm>
            <a:prstGeom prst="rect">
              <a:avLst/>
            </a:prstGeom>
            <a:noFill/>
          </p:spPr>
          <p:txBody>
            <a:bodyPr vert="horz" wrap="square" lIns="91416" tIns="45708" rIns="91416" bIns="45708" rtlCol="0" anchor="ctr">
              <a:noAutofit/>
            </a:bodyPr>
            <a:lstStyle/>
            <a:p>
              <a:pPr algn="ctr">
                <a:lnSpc>
                  <a:spcPct val="90000"/>
                </a:lnSpc>
                <a:spcBef>
                  <a:spcPct val="0"/>
                </a:spcBef>
              </a:pPr>
              <a:r>
                <a:rPr lang="en-US" sz="6600" b="1" spc="-150" noProof="1">
                  <a:solidFill>
                    <a:schemeClr val="bg1"/>
                  </a:solidFill>
                  <a:latin typeface="Barlow ExtraBold" panose="00000900000000000000" pitchFamily="2" charset="0"/>
                  <a:ea typeface="Roboto" panose="02000000000000000000" pitchFamily="2" charset="0"/>
                  <a:cs typeface="Times New Roman" panose="02020603050405020304" pitchFamily="18" charset="0"/>
                </a:rPr>
                <a:t>Thanks For </a:t>
              </a:r>
              <a:r>
                <a:rPr lang="en-US" sz="6600" spc="-150" noProof="1">
                  <a:solidFill>
                    <a:schemeClr val="bg1"/>
                  </a:solidFill>
                  <a:latin typeface="Barlow" panose="00000500000000000000" pitchFamily="50" charset="0"/>
                  <a:ea typeface="Roboto" panose="02000000000000000000" pitchFamily="2" charset="0"/>
                  <a:cs typeface="Times New Roman" panose="02020603050405020304" pitchFamily="18" charset="0"/>
                </a:rPr>
                <a:t>Watch</a:t>
              </a:r>
              <a:r>
                <a:rPr lang="en-US" sz="6600" spc="-150" noProof="1">
                  <a:solidFill>
                    <a:schemeClr val="bg1"/>
                  </a:solidFill>
                  <a:latin typeface="Montserrat Light" panose="00000400000000000000" pitchFamily="2" charset="0"/>
                  <a:ea typeface="Roboto" panose="02000000000000000000" pitchFamily="2" charset="0"/>
                  <a:cs typeface="Times New Roman" panose="02020603050405020304" pitchFamily="18" charset="0"/>
                </a:rPr>
                <a:t> </a:t>
              </a:r>
            </a:p>
          </p:txBody>
        </p:sp>
        <p:sp>
          <p:nvSpPr>
            <p:cNvPr id="9" name="Rectangle 8">
              <a:extLst>
                <a:ext uri="{FF2B5EF4-FFF2-40B4-BE49-F238E27FC236}">
                  <a16:creationId xmlns:a16="http://schemas.microsoft.com/office/drawing/2014/main" id="{766B0EB7-7BA2-469A-A4DF-068A53C9DEDE}"/>
                </a:ext>
              </a:extLst>
            </p:cNvPr>
            <p:cNvSpPr/>
            <p:nvPr/>
          </p:nvSpPr>
          <p:spPr>
            <a:xfrm>
              <a:off x="2666013" y="3888261"/>
              <a:ext cx="6859975" cy="600164"/>
            </a:xfrm>
            <a:prstGeom prst="rect">
              <a:avLst/>
            </a:prstGeom>
            <a:noFill/>
          </p:spPr>
          <p:txBody>
            <a:bodyPr wrap="square">
              <a:spAutoFit/>
            </a:bodyPr>
            <a:lstStyle/>
            <a:p>
              <a:pPr algn="ctr">
                <a:buClr>
                  <a:srgbClr val="E24848"/>
                </a:buClr>
                <a:defRPr/>
              </a:pPr>
              <a:r>
                <a:rPr lang="en-US" sz="1100" noProof="1">
                  <a:solidFill>
                    <a:schemeClr val="bg1"/>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t>
              </a:r>
            </a:p>
          </p:txBody>
        </p:sp>
      </p:grpSp>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280846" cy="215444"/>
          </a:xfrm>
          <a:prstGeom prst="rect">
            <a:avLst/>
          </a:prstGeom>
          <a:noFill/>
        </p:spPr>
        <p:txBody>
          <a:bodyPr wrap="none" rtlCol="0">
            <a:spAutoFit/>
          </a:bodyPr>
          <a:lstStyle/>
          <a:p>
            <a:r>
              <a:rPr lang="en-US" sz="800" dirty="0">
                <a:latin typeface="Barlow ExtraBold" panose="00000900000000000000" pitchFamily="2" charset="0"/>
              </a:rPr>
              <a:t>10</a:t>
            </a:r>
            <a:endParaRPr lang="en-PK" sz="800" dirty="0">
              <a:latin typeface="Barlow ExtraBold" panose="00000900000000000000" pitchFamily="2" charset="0"/>
            </a:endParaRPr>
          </a:p>
        </p:txBody>
      </p:sp>
    </p:spTree>
    <p:extLst>
      <p:ext uri="{BB962C8B-B14F-4D97-AF65-F5344CB8AC3E}">
        <p14:creationId xmlns:p14="http://schemas.microsoft.com/office/powerpoint/2010/main" val="3277858150"/>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96636B-6BA2-4C7B-B597-3E81016A816A}"/>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865DB279-1080-4149-BB6B-DE2DF93FE948}"/>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194CE5E6-9C87-4AF0-8D9E-8DFD9D07AA9C}"/>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A8742349-FA29-471F-A9E4-77BEE64384A0}"/>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DC995E9-8AB0-4849-B672-75AB0A9FC6A0}"/>
              </a:ext>
            </a:extLst>
          </p:cNvPr>
          <p:cNvSpPr txBox="1"/>
          <p:nvPr/>
        </p:nvSpPr>
        <p:spPr>
          <a:xfrm>
            <a:off x="6631781" y="6538158"/>
            <a:ext cx="301686" cy="215444"/>
          </a:xfrm>
          <a:prstGeom prst="rect">
            <a:avLst/>
          </a:prstGeom>
          <a:noFill/>
        </p:spPr>
        <p:txBody>
          <a:bodyPr wrap="none" rtlCol="0">
            <a:spAutoFit/>
          </a:bodyPr>
          <a:lstStyle/>
          <a:p>
            <a:r>
              <a:rPr lang="en-US" sz="800" dirty="0">
                <a:latin typeface="Barlow ExtraBold" panose="00000900000000000000" pitchFamily="2" charset="0"/>
              </a:rPr>
              <a:t>02</a:t>
            </a:r>
            <a:endParaRPr lang="en-PK" sz="800" dirty="0">
              <a:latin typeface="Barlow ExtraBold" panose="00000900000000000000" pitchFamily="2" charset="0"/>
            </a:endParaRPr>
          </a:p>
        </p:txBody>
      </p:sp>
      <p:grpSp>
        <p:nvGrpSpPr>
          <p:cNvPr id="12" name="Group 11">
            <a:extLst>
              <a:ext uri="{FF2B5EF4-FFF2-40B4-BE49-F238E27FC236}">
                <a16:creationId xmlns:a16="http://schemas.microsoft.com/office/drawing/2014/main" id="{A0850842-1895-4CC8-98B0-0A690CDA68BE}"/>
              </a:ext>
            </a:extLst>
          </p:cNvPr>
          <p:cNvGrpSpPr/>
          <p:nvPr/>
        </p:nvGrpSpPr>
        <p:grpSpPr>
          <a:xfrm>
            <a:off x="6257867" y="1289007"/>
            <a:ext cx="5020084" cy="4222835"/>
            <a:chOff x="6183433" y="1225266"/>
            <a:chExt cx="5020084" cy="4222835"/>
          </a:xfrm>
        </p:grpSpPr>
        <p:sp>
          <p:nvSpPr>
            <p:cNvPr id="7" name="Title 11">
              <a:extLst>
                <a:ext uri="{FF2B5EF4-FFF2-40B4-BE49-F238E27FC236}">
                  <a16:creationId xmlns:a16="http://schemas.microsoft.com/office/drawing/2014/main" id="{66EED636-A98E-47BC-A76E-9558120B3C2D}"/>
                </a:ext>
              </a:extLst>
            </p:cNvPr>
            <p:cNvSpPr txBox="1">
              <a:spLocks/>
            </p:cNvSpPr>
            <p:nvPr/>
          </p:nvSpPr>
          <p:spPr>
            <a:xfrm>
              <a:off x="6183433" y="1453431"/>
              <a:ext cx="3246317" cy="1648177"/>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5400" b="1"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Welcome</a:t>
              </a:r>
            </a:p>
            <a:p>
              <a:pPr algn="l"/>
              <a:r>
                <a:rPr lang="en-US" sz="54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Message</a:t>
              </a:r>
            </a:p>
          </p:txBody>
        </p:sp>
        <p:sp>
          <p:nvSpPr>
            <p:cNvPr id="8" name="Title 11">
              <a:extLst>
                <a:ext uri="{FF2B5EF4-FFF2-40B4-BE49-F238E27FC236}">
                  <a16:creationId xmlns:a16="http://schemas.microsoft.com/office/drawing/2014/main" id="{40433F4D-4795-4B46-81E5-A3BB628B291F}"/>
                </a:ext>
              </a:extLst>
            </p:cNvPr>
            <p:cNvSpPr txBox="1">
              <a:spLocks/>
            </p:cNvSpPr>
            <p:nvPr/>
          </p:nvSpPr>
          <p:spPr>
            <a:xfrm>
              <a:off x="6183433" y="1225266"/>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latin typeface="Barlow" panose="00000500000000000000" pitchFamily="50" charset="0"/>
                  <a:ea typeface="Roboto" panose="02000000000000000000" pitchFamily="2" charset="0"/>
                  <a:cs typeface="Open Sans Light" panose="020B0306030504020204" pitchFamily="34" charset="0"/>
                </a:rPr>
                <a:t>Insert Your Creative Idea </a:t>
              </a:r>
            </a:p>
          </p:txBody>
        </p:sp>
        <p:sp>
          <p:nvSpPr>
            <p:cNvPr id="9" name="Rectangle 8">
              <a:extLst>
                <a:ext uri="{FF2B5EF4-FFF2-40B4-BE49-F238E27FC236}">
                  <a16:creationId xmlns:a16="http://schemas.microsoft.com/office/drawing/2014/main" id="{B5E1B962-1944-4B0B-B884-11E3B6DC282C}"/>
                </a:ext>
              </a:extLst>
            </p:cNvPr>
            <p:cNvSpPr/>
            <p:nvPr/>
          </p:nvSpPr>
          <p:spPr>
            <a:xfrm>
              <a:off x="6183433" y="3139777"/>
              <a:ext cx="5020084" cy="2308324"/>
            </a:xfrm>
            <a:prstGeom prst="rect">
              <a:avLst/>
            </a:prstGeom>
          </p:spPr>
          <p:txBody>
            <a:bodyPr wrap="square">
              <a:spAutoFit/>
            </a:bodyPr>
            <a:lstStyle/>
            <a:p>
              <a:pPr>
                <a:lnSpc>
                  <a:spcPct val="150000"/>
                </a:lnSpc>
                <a:buClr>
                  <a:srgbClr val="E24848"/>
                </a:buClr>
                <a:defRPr/>
              </a:pPr>
              <a:r>
                <a:rPr lang="en-US" sz="1200" noProof="1">
                  <a:solidFill>
                    <a:schemeClr val="tx1">
                      <a:lumMod val="50000"/>
                      <a:lumOff val="50000"/>
                    </a:schemeClr>
                  </a:solidFill>
                  <a:latin typeface="Barlow" panose="00000500000000000000" pitchFamily="50" charset="0"/>
                  <a:ea typeface="Roboto Light" panose="02000000000000000000" pitchFamily="2" charset="0"/>
                  <a:cs typeface="Arial" charset="0"/>
                </a:rPr>
                <a:t>Phenomenon whereby something new and somehow valuable is formed the created item may be intangible such as an idea or a physical object such as an invention, a literary work or a painting scholarly interest in creativity involves many definitions and concepts pertaining to a number of disciplines in a summary.</a:t>
              </a:r>
            </a:p>
            <a:p>
              <a:pPr>
                <a:lnSpc>
                  <a:spcPct val="150000"/>
                </a:lnSpc>
                <a:buClr>
                  <a:srgbClr val="E24848"/>
                </a:buClr>
                <a:defRPr/>
              </a:pPr>
              <a:endParaRPr lang="en-US" sz="1200" noProof="1">
                <a:solidFill>
                  <a:schemeClr val="tx1">
                    <a:lumMod val="50000"/>
                    <a:lumOff val="50000"/>
                  </a:schemeClr>
                </a:solidFill>
                <a:latin typeface="Barlow" panose="00000500000000000000" pitchFamily="50" charset="0"/>
                <a:ea typeface="Roboto Light" panose="02000000000000000000" pitchFamily="2" charset="0"/>
                <a:cs typeface="Arial" charset="0"/>
              </a:endParaRPr>
            </a:p>
            <a:p>
              <a:pPr>
                <a:lnSpc>
                  <a:spcPct val="150000"/>
                </a:lnSpc>
                <a:buClr>
                  <a:srgbClr val="E24848"/>
                </a:buClr>
                <a:defRPr/>
              </a:pPr>
              <a:r>
                <a:rPr lang="en-US" sz="1200" noProof="1">
                  <a:solidFill>
                    <a:schemeClr val="tx1">
                      <a:lumMod val="50000"/>
                      <a:lumOff val="50000"/>
                    </a:schemeClr>
                  </a:solidFill>
                  <a:latin typeface="Barlow" panose="00000500000000000000" pitchFamily="50" charset="0"/>
                  <a:ea typeface="Roboto Light" panose="02000000000000000000" pitchFamily="2" charset="0"/>
                  <a:cs typeface="Arial" charset="0"/>
                </a:rPr>
                <a:t>Scientific research into creativity over the course of the last decade, however, we seem to have reached a general agreement that creativity</a:t>
              </a:r>
            </a:p>
          </p:txBody>
        </p:sp>
      </p:grpSp>
      <p:pic>
        <p:nvPicPr>
          <p:cNvPr id="20" name="Picture Placeholder 19">
            <a:extLst>
              <a:ext uri="{FF2B5EF4-FFF2-40B4-BE49-F238E27FC236}">
                <a16:creationId xmlns:a16="http://schemas.microsoft.com/office/drawing/2014/main" id="{E8F11B0A-A6EC-4D8A-9B20-7B9666CE25BA}"/>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7149" r="17149"/>
          <a:stretch>
            <a:fillRect/>
          </a:stretch>
        </p:blipFill>
        <p:spPr>
          <a:ln w="19050">
            <a:solidFill>
              <a:srgbClr val="4472C4"/>
            </a:solidFill>
          </a:ln>
        </p:spPr>
      </p:pic>
    </p:spTree>
    <p:extLst>
      <p:ext uri="{BB962C8B-B14F-4D97-AF65-F5344CB8AC3E}">
        <p14:creationId xmlns:p14="http://schemas.microsoft.com/office/powerpoint/2010/main" val="2951620214"/>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EB616ED4-2F29-4C79-97AB-34EE084341C3}"/>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11548" b="36060"/>
          <a:stretch/>
        </p:blipFill>
        <p:spPr>
          <a:xfrm>
            <a:off x="0" y="1701221"/>
            <a:ext cx="12192000" cy="4264108"/>
          </a:xfrm>
          <a:ln w="19050">
            <a:solidFill>
              <a:srgbClr val="4472C4"/>
            </a:solidFill>
          </a:ln>
        </p:spPr>
      </p:pic>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300082" cy="215444"/>
          </a:xfrm>
          <a:prstGeom prst="rect">
            <a:avLst/>
          </a:prstGeom>
          <a:noFill/>
        </p:spPr>
        <p:txBody>
          <a:bodyPr wrap="none" rtlCol="0">
            <a:spAutoFit/>
          </a:bodyPr>
          <a:lstStyle/>
          <a:p>
            <a:r>
              <a:rPr lang="en-US" sz="800" dirty="0">
                <a:latin typeface="Barlow ExtraBold" panose="00000900000000000000" pitchFamily="2" charset="0"/>
              </a:rPr>
              <a:t>03</a:t>
            </a:r>
            <a:endParaRPr lang="en-PK" sz="800" dirty="0">
              <a:latin typeface="Barlow ExtraBold" panose="00000900000000000000" pitchFamily="2" charset="0"/>
            </a:endParaRPr>
          </a:p>
        </p:txBody>
      </p:sp>
      <p:grpSp>
        <p:nvGrpSpPr>
          <p:cNvPr id="18" name="Group 17">
            <a:extLst>
              <a:ext uri="{FF2B5EF4-FFF2-40B4-BE49-F238E27FC236}">
                <a16:creationId xmlns:a16="http://schemas.microsoft.com/office/drawing/2014/main" id="{A8DB7BAF-217E-4857-B06D-357958708CF3}"/>
              </a:ext>
            </a:extLst>
          </p:cNvPr>
          <p:cNvGrpSpPr/>
          <p:nvPr/>
        </p:nvGrpSpPr>
        <p:grpSpPr>
          <a:xfrm>
            <a:off x="595993" y="446608"/>
            <a:ext cx="10999106" cy="5733913"/>
            <a:chOff x="595993" y="446608"/>
            <a:chExt cx="10999106" cy="5733913"/>
          </a:xfrm>
        </p:grpSpPr>
        <p:sp>
          <p:nvSpPr>
            <p:cNvPr id="7" name="Title 11">
              <a:extLst>
                <a:ext uri="{FF2B5EF4-FFF2-40B4-BE49-F238E27FC236}">
                  <a16:creationId xmlns:a16="http://schemas.microsoft.com/office/drawing/2014/main" id="{2CEA9701-633F-4B06-86AE-C3A66EC14A8E}"/>
                </a:ext>
              </a:extLst>
            </p:cNvPr>
            <p:cNvSpPr txBox="1">
              <a:spLocks/>
            </p:cNvSpPr>
            <p:nvPr/>
          </p:nvSpPr>
          <p:spPr>
            <a:xfrm>
              <a:off x="595993" y="446608"/>
              <a:ext cx="2388747"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About </a:t>
              </a:r>
              <a:r>
                <a:rPr lang="en-US" sz="3600"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Us</a:t>
              </a:r>
            </a:p>
          </p:txBody>
        </p:sp>
        <p:sp>
          <p:nvSpPr>
            <p:cNvPr id="8" name="Title 11">
              <a:extLst>
                <a:ext uri="{FF2B5EF4-FFF2-40B4-BE49-F238E27FC236}">
                  <a16:creationId xmlns:a16="http://schemas.microsoft.com/office/drawing/2014/main" id="{0CCACB4B-4A2F-4B11-A658-2BBC5EBF0EEF}"/>
                </a:ext>
              </a:extLst>
            </p:cNvPr>
            <p:cNvSpPr txBox="1">
              <a:spLocks/>
            </p:cNvSpPr>
            <p:nvPr/>
          </p:nvSpPr>
          <p:spPr>
            <a:xfrm>
              <a:off x="595994" y="1242026"/>
              <a:ext cx="1759018" cy="169006"/>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latin typeface="Barlow" panose="00000500000000000000" pitchFamily="50" charset="0"/>
                  <a:ea typeface="Roboto" panose="02000000000000000000" pitchFamily="2" charset="0"/>
                  <a:cs typeface="Open Sans Light" panose="020B0306030504020204" pitchFamily="34" charset="0"/>
                </a:rPr>
                <a:t>Insert Your Creative Idea </a:t>
              </a:r>
            </a:p>
          </p:txBody>
        </p:sp>
        <p:grpSp>
          <p:nvGrpSpPr>
            <p:cNvPr id="17" name="Group 16">
              <a:extLst>
                <a:ext uri="{FF2B5EF4-FFF2-40B4-BE49-F238E27FC236}">
                  <a16:creationId xmlns:a16="http://schemas.microsoft.com/office/drawing/2014/main" id="{DCAE8699-579C-4BB1-919D-7028B21ADC4A}"/>
                </a:ext>
              </a:extLst>
            </p:cNvPr>
            <p:cNvGrpSpPr/>
            <p:nvPr/>
          </p:nvGrpSpPr>
          <p:grpSpPr>
            <a:xfrm>
              <a:off x="6678092" y="1538687"/>
              <a:ext cx="4917007" cy="4641834"/>
              <a:chOff x="6678092" y="1538687"/>
              <a:chExt cx="4917007" cy="4641834"/>
            </a:xfrm>
          </p:grpSpPr>
          <p:sp>
            <p:nvSpPr>
              <p:cNvPr id="9" name="Rectangle 8">
                <a:extLst>
                  <a:ext uri="{FF2B5EF4-FFF2-40B4-BE49-F238E27FC236}">
                    <a16:creationId xmlns:a16="http://schemas.microsoft.com/office/drawing/2014/main" id="{7C2E7504-1A86-4433-8411-0C2F3B66F19D}"/>
                  </a:ext>
                </a:extLst>
              </p:cNvPr>
              <p:cNvSpPr/>
              <p:nvPr/>
            </p:nvSpPr>
            <p:spPr>
              <a:xfrm>
                <a:off x="6678092" y="1538687"/>
                <a:ext cx="4917007" cy="464183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70622D-36EE-4468-9F4A-6F3C03132ECE}"/>
                  </a:ext>
                </a:extLst>
              </p:cNvPr>
              <p:cNvSpPr/>
              <p:nvPr/>
            </p:nvSpPr>
            <p:spPr>
              <a:xfrm>
                <a:off x="7133239" y="1707052"/>
                <a:ext cx="4233261" cy="3017348"/>
              </a:xfrm>
              <a:prstGeom prst="rect">
                <a:avLst/>
              </a:prstGeom>
            </p:spPr>
            <p:txBody>
              <a:bodyPr vert="horz" wrap="square" lIns="91416" tIns="45708" rIns="91416" bIns="45708" rtlCol="0" anchor="ctr">
                <a:noAutofit/>
              </a:bodyPr>
              <a:lstStyle/>
              <a:p>
                <a:pPr>
                  <a:lnSpc>
                    <a:spcPct val="90000"/>
                  </a:lnSpc>
                  <a:spcBef>
                    <a:spcPct val="0"/>
                  </a:spcBef>
                </a:pPr>
                <a:r>
                  <a:rPr lang="en-US" sz="3600" b="1" spc="-150" noProof="1">
                    <a:solidFill>
                      <a:schemeClr val="bg1"/>
                    </a:solidFill>
                    <a:latin typeface="Barlow ExtraBold" panose="00000900000000000000" pitchFamily="2" charset="0"/>
                    <a:ea typeface="Roboto" panose="02000000000000000000" pitchFamily="2" charset="0"/>
                    <a:cs typeface="Times New Roman" panose="02020603050405020304" pitchFamily="18" charset="0"/>
                  </a:rPr>
                  <a:t>Definiteness Of </a:t>
                </a:r>
              </a:p>
              <a:p>
                <a:pPr>
                  <a:lnSpc>
                    <a:spcPct val="90000"/>
                  </a:lnSpc>
                  <a:spcBef>
                    <a:spcPct val="0"/>
                  </a:spcBef>
                </a:pPr>
                <a:r>
                  <a:rPr lang="en-US" sz="3600" b="1" spc="-150" noProof="1">
                    <a:solidFill>
                      <a:schemeClr val="bg1"/>
                    </a:solidFill>
                    <a:latin typeface="Barlow ExtraBold" panose="00000900000000000000" pitchFamily="2" charset="0"/>
                    <a:ea typeface="Roboto" panose="02000000000000000000" pitchFamily="2" charset="0"/>
                    <a:cs typeface="Times New Roman" panose="02020603050405020304" pitchFamily="18" charset="0"/>
                  </a:rPr>
                  <a:t>Purpose </a:t>
                </a:r>
              </a:p>
              <a:p>
                <a:pPr>
                  <a:lnSpc>
                    <a:spcPct val="90000"/>
                  </a:lnSpc>
                  <a:spcBef>
                    <a:spcPct val="0"/>
                  </a:spcBef>
                </a:pPr>
                <a:r>
                  <a:rPr lang="en-US" sz="3600" spc="-150" noProof="1">
                    <a:solidFill>
                      <a:schemeClr val="bg1"/>
                    </a:solidFill>
                    <a:latin typeface="Barlow ExtraBold" panose="00000900000000000000" pitchFamily="2" charset="0"/>
                    <a:ea typeface="Roboto" panose="02000000000000000000" pitchFamily="2" charset="0"/>
                    <a:cs typeface="Times New Roman" panose="02020603050405020304" pitchFamily="18" charset="0"/>
                  </a:rPr>
                  <a:t>Is </a:t>
                </a:r>
                <a:r>
                  <a:rPr lang="en-US" sz="3600" spc="-150" noProof="1">
                    <a:solidFill>
                      <a:schemeClr val="bg1"/>
                    </a:solidFill>
                    <a:latin typeface="Barlow" panose="00000500000000000000" pitchFamily="50" charset="0"/>
                    <a:ea typeface="Roboto" panose="02000000000000000000" pitchFamily="2" charset="0"/>
                    <a:cs typeface="Times New Roman" panose="02020603050405020304" pitchFamily="18" charset="0"/>
                  </a:rPr>
                  <a:t>The Starting  </a:t>
                </a:r>
              </a:p>
              <a:p>
                <a:pPr>
                  <a:lnSpc>
                    <a:spcPct val="90000"/>
                  </a:lnSpc>
                  <a:spcBef>
                    <a:spcPct val="0"/>
                  </a:spcBef>
                </a:pPr>
                <a:r>
                  <a:rPr lang="en-US" sz="3600" spc="-150" noProof="1">
                    <a:solidFill>
                      <a:schemeClr val="bg1"/>
                    </a:solidFill>
                    <a:latin typeface="Barlow" panose="00000500000000000000" pitchFamily="50" charset="0"/>
                    <a:ea typeface="Roboto" panose="02000000000000000000" pitchFamily="2" charset="0"/>
                    <a:cs typeface="Times New Roman" panose="02020603050405020304" pitchFamily="18" charset="0"/>
                  </a:rPr>
                  <a:t>Point Of All </a:t>
                </a:r>
              </a:p>
              <a:p>
                <a:pPr>
                  <a:lnSpc>
                    <a:spcPct val="90000"/>
                  </a:lnSpc>
                  <a:spcBef>
                    <a:spcPct val="0"/>
                  </a:spcBef>
                </a:pPr>
                <a:r>
                  <a:rPr lang="en-US" sz="3600" spc="-150" noProof="1">
                    <a:solidFill>
                      <a:schemeClr val="bg1"/>
                    </a:solidFill>
                    <a:latin typeface="Barlow" panose="00000500000000000000" pitchFamily="50" charset="0"/>
                    <a:ea typeface="Roboto" panose="02000000000000000000" pitchFamily="2" charset="0"/>
                    <a:cs typeface="Times New Roman" panose="02020603050405020304" pitchFamily="18" charset="0"/>
                  </a:rPr>
                  <a:t>Achievement</a:t>
                </a:r>
              </a:p>
            </p:txBody>
          </p:sp>
          <p:cxnSp>
            <p:nvCxnSpPr>
              <p:cNvPr id="11" name="Straight Connector 10">
                <a:extLst>
                  <a:ext uri="{FF2B5EF4-FFF2-40B4-BE49-F238E27FC236}">
                    <a16:creationId xmlns:a16="http://schemas.microsoft.com/office/drawing/2014/main" id="{A00229CA-7707-4D60-80BC-D13EA538C892}"/>
                  </a:ext>
                </a:extLst>
              </p:cNvPr>
              <p:cNvCxnSpPr/>
              <p:nvPr/>
            </p:nvCxnSpPr>
            <p:spPr>
              <a:xfrm>
                <a:off x="7251700" y="4559300"/>
                <a:ext cx="3975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23B4210-BE62-472B-846F-E769909FEC57}"/>
                  </a:ext>
                </a:extLst>
              </p:cNvPr>
              <p:cNvSpPr/>
              <p:nvPr/>
            </p:nvSpPr>
            <p:spPr>
              <a:xfrm>
                <a:off x="7251700" y="4815631"/>
                <a:ext cx="3975100" cy="769441"/>
              </a:xfrm>
              <a:prstGeom prst="rect">
                <a:avLst/>
              </a:prstGeom>
            </p:spPr>
            <p:txBody>
              <a:bodyPr wrap="square">
                <a:spAutoFit/>
              </a:bodyPr>
              <a:lstStyle/>
              <a:p>
                <a:pPr>
                  <a:buClr>
                    <a:srgbClr val="E24848"/>
                  </a:buClr>
                </a:pPr>
                <a:r>
                  <a:rPr lang="en-US" sz="1100" noProof="1">
                    <a:solidFill>
                      <a:schemeClr val="bg1"/>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a:t>
                </a:r>
              </a:p>
            </p:txBody>
          </p:sp>
        </p:grpSp>
      </p:grpSp>
    </p:spTree>
    <p:extLst>
      <p:ext uri="{BB962C8B-B14F-4D97-AF65-F5344CB8AC3E}">
        <p14:creationId xmlns:p14="http://schemas.microsoft.com/office/powerpoint/2010/main" val="1974959567"/>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22">
            <a:extLst>
              <a:ext uri="{FF2B5EF4-FFF2-40B4-BE49-F238E27FC236}">
                <a16:creationId xmlns:a16="http://schemas.microsoft.com/office/drawing/2014/main" id="{659F2D9D-7509-46C9-B802-4ADE68E0B0B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2051" b="32051"/>
          <a:stretch>
            <a:fillRect/>
          </a:stretch>
        </p:blipFill>
        <p:spPr/>
      </p:pic>
      <p:sp>
        <p:nvSpPr>
          <p:cNvPr id="24" name="Rectangle 23">
            <a:extLst>
              <a:ext uri="{FF2B5EF4-FFF2-40B4-BE49-F238E27FC236}">
                <a16:creationId xmlns:a16="http://schemas.microsoft.com/office/drawing/2014/main" id="{96B765B7-6C29-44F9-96D6-01A36E14B939}"/>
              </a:ext>
            </a:extLst>
          </p:cNvPr>
          <p:cNvSpPr/>
          <p:nvPr/>
        </p:nvSpPr>
        <p:spPr>
          <a:xfrm>
            <a:off x="0" y="3937000"/>
            <a:ext cx="12189978" cy="2729059"/>
          </a:xfrm>
          <a:prstGeom prst="rect">
            <a:avLst/>
          </a:prstGeom>
          <a:solidFill>
            <a:schemeClr val="tx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Title 11">
            <a:extLst>
              <a:ext uri="{FF2B5EF4-FFF2-40B4-BE49-F238E27FC236}">
                <a16:creationId xmlns:a16="http://schemas.microsoft.com/office/drawing/2014/main" id="{18EB263C-2BBC-49B0-9BC8-69D1EF862191}"/>
              </a:ext>
            </a:extLst>
          </p:cNvPr>
          <p:cNvSpPr txBox="1">
            <a:spLocks/>
          </p:cNvSpPr>
          <p:nvPr/>
        </p:nvSpPr>
        <p:spPr>
          <a:xfrm>
            <a:off x="4000938" y="456698"/>
            <a:ext cx="419012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Content </a:t>
            </a:r>
            <a:r>
              <a:rPr lang="en-US" sz="3600"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Mission </a:t>
            </a:r>
          </a:p>
        </p:txBody>
      </p:sp>
      <p:sp>
        <p:nvSpPr>
          <p:cNvPr id="8" name="Title 11">
            <a:extLst>
              <a:ext uri="{FF2B5EF4-FFF2-40B4-BE49-F238E27FC236}">
                <a16:creationId xmlns:a16="http://schemas.microsoft.com/office/drawing/2014/main" id="{C2CBF0C9-A177-4251-A2A2-C7BA64236AB3}"/>
              </a:ext>
            </a:extLst>
          </p:cNvPr>
          <p:cNvSpPr txBox="1">
            <a:spLocks/>
          </p:cNvSpPr>
          <p:nvPr/>
        </p:nvSpPr>
        <p:spPr>
          <a:xfrm>
            <a:off x="4378420" y="1151593"/>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latin typeface="Barlow" panose="00000500000000000000" pitchFamily="50" charset="0"/>
                <a:ea typeface="Roboto" panose="02000000000000000000" pitchFamily="2" charset="0"/>
                <a:cs typeface="Open Sans Light" panose="020B0306030504020204" pitchFamily="34" charset="0"/>
              </a:rPr>
              <a:t>Insert Your Creative Idea </a:t>
            </a:r>
          </a:p>
        </p:txBody>
      </p:sp>
      <p:grpSp>
        <p:nvGrpSpPr>
          <p:cNvPr id="26" name="Group 25">
            <a:extLst>
              <a:ext uri="{FF2B5EF4-FFF2-40B4-BE49-F238E27FC236}">
                <a16:creationId xmlns:a16="http://schemas.microsoft.com/office/drawing/2014/main" id="{6BE9941C-2CF9-4B57-83C7-6130FB5E1526}"/>
              </a:ext>
            </a:extLst>
          </p:cNvPr>
          <p:cNvGrpSpPr/>
          <p:nvPr/>
        </p:nvGrpSpPr>
        <p:grpSpPr>
          <a:xfrm>
            <a:off x="567086" y="2288661"/>
            <a:ext cx="11251321" cy="3606491"/>
            <a:chOff x="567086" y="2288661"/>
            <a:chExt cx="11251321" cy="3606491"/>
          </a:xfrm>
        </p:grpSpPr>
        <p:sp>
          <p:nvSpPr>
            <p:cNvPr id="9" name="Rectangle 8">
              <a:extLst>
                <a:ext uri="{FF2B5EF4-FFF2-40B4-BE49-F238E27FC236}">
                  <a16:creationId xmlns:a16="http://schemas.microsoft.com/office/drawing/2014/main" id="{CAEDEB6F-4401-412C-82A1-81A9580AEFED}"/>
                </a:ext>
              </a:extLst>
            </p:cNvPr>
            <p:cNvSpPr/>
            <p:nvPr/>
          </p:nvSpPr>
          <p:spPr>
            <a:xfrm>
              <a:off x="1181521" y="2585271"/>
              <a:ext cx="2819417" cy="646331"/>
            </a:xfrm>
            <a:prstGeom prst="rect">
              <a:avLst/>
            </a:prstGeom>
          </p:spPr>
          <p:txBody>
            <a:bodyPr wrap="square">
              <a:spAutoFit/>
            </a:bodyPr>
            <a:lstStyle/>
            <a:p>
              <a:pPr>
                <a:buClr>
                  <a:srgbClr val="E24848"/>
                </a:buClr>
              </a:pPr>
              <a:r>
                <a:rPr lang="en-US" sz="1200" noProof="1">
                  <a:solidFill>
                    <a:schemeClr val="tx1">
                      <a:lumMod val="50000"/>
                      <a:lumOff val="50000"/>
                    </a:schemeClr>
                  </a:solidFill>
                  <a:latin typeface="Barlow" panose="00000500000000000000" pitchFamily="50" charset="0"/>
                  <a:ea typeface="Open Sans Light" panose="020B0306030504020204" pitchFamily="34" charset="0"/>
                  <a:cs typeface="Open Sans Light" panose="020B0306030504020204" pitchFamily="34" charset="0"/>
                </a:rPr>
                <a:t>we are companies often specify a typeface, or even a set of fonts,  part of their brand guides However, if you a</a:t>
              </a:r>
            </a:p>
          </p:txBody>
        </p:sp>
        <p:sp>
          <p:nvSpPr>
            <p:cNvPr id="10" name="Rectangle 9">
              <a:extLst>
                <a:ext uri="{FF2B5EF4-FFF2-40B4-BE49-F238E27FC236}">
                  <a16:creationId xmlns:a16="http://schemas.microsoft.com/office/drawing/2014/main" id="{29AF39B2-4F84-46F7-BA97-B70CCA366C9D}"/>
                </a:ext>
              </a:extLst>
            </p:cNvPr>
            <p:cNvSpPr/>
            <p:nvPr/>
          </p:nvSpPr>
          <p:spPr>
            <a:xfrm>
              <a:off x="4665044" y="3620740"/>
              <a:ext cx="2861912" cy="629939"/>
            </a:xfrm>
            <a:prstGeom prst="rect">
              <a:avLst/>
            </a:prstGeom>
            <a:solidFill>
              <a:schemeClr val="bg1"/>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BA86E04-5466-4EA6-AFA7-6ED5B92A1626}"/>
                </a:ext>
              </a:extLst>
            </p:cNvPr>
            <p:cNvSpPr txBox="1"/>
            <p:nvPr/>
          </p:nvSpPr>
          <p:spPr>
            <a:xfrm>
              <a:off x="4962526" y="3658195"/>
              <a:ext cx="2266948" cy="590931"/>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buNone/>
                <a:defRPr sz="3600" b="1" spc="-150">
                  <a:solidFill>
                    <a:schemeClr val="tx1">
                      <a:lumMod val="85000"/>
                      <a:lumOff val="15000"/>
                    </a:schemeClr>
                  </a:solidFill>
                  <a:latin typeface="Montserrat" panose="00000500000000000000" pitchFamily="2" charset="0"/>
                  <a:ea typeface="Roboto" panose="02000000000000000000" pitchFamily="2" charset="0"/>
                  <a:cs typeface="Times New Roman" panose="02020603050405020304" pitchFamily="18" charset="0"/>
                </a:defRPr>
              </a:lvl1pPr>
            </a:lstStyle>
            <a:p>
              <a:r>
                <a:rPr lang="en-US" sz="2000" dirty="0">
                  <a:latin typeface="Barlow ExtraBold" panose="00000900000000000000" pitchFamily="2" charset="0"/>
                </a:rPr>
                <a:t>OUR HISTORY</a:t>
              </a:r>
            </a:p>
          </p:txBody>
        </p:sp>
        <p:sp>
          <p:nvSpPr>
            <p:cNvPr id="12" name="TextBox 11">
              <a:extLst>
                <a:ext uri="{FF2B5EF4-FFF2-40B4-BE49-F238E27FC236}">
                  <a16:creationId xmlns:a16="http://schemas.microsoft.com/office/drawing/2014/main" id="{30068DF1-4C88-4480-B7DA-E8371955CBF9}"/>
                </a:ext>
              </a:extLst>
            </p:cNvPr>
            <p:cNvSpPr txBox="1"/>
            <p:nvPr/>
          </p:nvSpPr>
          <p:spPr>
            <a:xfrm>
              <a:off x="1181520" y="2288661"/>
              <a:ext cx="1718586" cy="286214"/>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defRPr sz="1400" b="1">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defRPr>
              </a:lvl1pPr>
            </a:lstStyle>
            <a:p>
              <a:pPr algn="l"/>
              <a:r>
                <a:rPr lang="id-ID" dirty="0">
                  <a:solidFill>
                    <a:srgbClr val="4472C4"/>
                  </a:solidFill>
                  <a:latin typeface="Barlow ExtraBold" panose="00000900000000000000" pitchFamily="2" charset="0"/>
                </a:rPr>
                <a:t>Mission</a:t>
              </a:r>
              <a:endParaRPr lang="en-US" dirty="0">
                <a:solidFill>
                  <a:srgbClr val="4472C4"/>
                </a:solidFill>
                <a:latin typeface="Barlow ExtraBold" panose="00000900000000000000" pitchFamily="2" charset="0"/>
              </a:endParaRPr>
            </a:p>
          </p:txBody>
        </p:sp>
        <p:sp>
          <p:nvSpPr>
            <p:cNvPr id="13" name="TextBox 12">
              <a:extLst>
                <a:ext uri="{FF2B5EF4-FFF2-40B4-BE49-F238E27FC236}">
                  <a16:creationId xmlns:a16="http://schemas.microsoft.com/office/drawing/2014/main" id="{9E0D0488-1E3E-4E27-9CD8-D5204DD048BA}"/>
                </a:ext>
              </a:extLst>
            </p:cNvPr>
            <p:cNvSpPr txBox="1"/>
            <p:nvPr/>
          </p:nvSpPr>
          <p:spPr>
            <a:xfrm>
              <a:off x="9475758" y="2288661"/>
              <a:ext cx="1718586" cy="286214"/>
            </a:xfrm>
            <a:prstGeom prst="rect">
              <a:avLst/>
            </a:prstGeom>
          </p:spPr>
          <p:txBody>
            <a:bodyPr vert="horz" wrap="square" lIns="91416" tIns="45708" rIns="91416" bIns="45708" rtlCol="0" anchor="ctr">
              <a:noAutofit/>
            </a:bodyPr>
            <a:lstStyle>
              <a:defPPr>
                <a:defRPr lang="en-US"/>
              </a:defPPr>
              <a:lvl1pPr algn="ctr">
                <a:lnSpc>
                  <a:spcPct val="90000"/>
                </a:lnSpc>
                <a:spcBef>
                  <a:spcPct val="0"/>
                </a:spcBef>
                <a:defRPr sz="1400" b="1">
                  <a:solidFill>
                    <a:schemeClr val="tx1">
                      <a:lumMod val="75000"/>
                      <a:lumOff val="25000"/>
                    </a:schemeClr>
                  </a:solidFill>
                  <a:latin typeface="Montserrat" panose="00000500000000000000" pitchFamily="2" charset="0"/>
                  <a:ea typeface="Roboto" panose="02000000000000000000" pitchFamily="2" charset="0"/>
                  <a:cs typeface="Times New Roman" panose="02020603050405020304" pitchFamily="18" charset="0"/>
                </a:defRPr>
              </a:lvl1pPr>
            </a:lstStyle>
            <a:p>
              <a:pPr algn="r"/>
              <a:r>
                <a:rPr lang="id-ID" dirty="0">
                  <a:solidFill>
                    <a:srgbClr val="4472C4"/>
                  </a:solidFill>
                  <a:latin typeface="Barlow ExtraBold" panose="00000900000000000000" pitchFamily="2" charset="0"/>
                </a:rPr>
                <a:t>Mission</a:t>
              </a:r>
              <a:endParaRPr lang="en-US" dirty="0">
                <a:solidFill>
                  <a:srgbClr val="4472C4"/>
                </a:solidFill>
                <a:latin typeface="Barlow ExtraBold" panose="00000900000000000000" pitchFamily="2" charset="0"/>
              </a:endParaRPr>
            </a:p>
          </p:txBody>
        </p:sp>
        <p:sp>
          <p:nvSpPr>
            <p:cNvPr id="14" name="Freeform 57">
              <a:extLst>
                <a:ext uri="{FF2B5EF4-FFF2-40B4-BE49-F238E27FC236}">
                  <a16:creationId xmlns:a16="http://schemas.microsoft.com/office/drawing/2014/main" id="{066BF224-4D73-4C5B-9C4C-EF50E6F4D100}"/>
                </a:ext>
              </a:extLst>
            </p:cNvPr>
            <p:cNvSpPr>
              <a:spLocks noEditPoints="1"/>
            </p:cNvSpPr>
            <p:nvPr/>
          </p:nvSpPr>
          <p:spPr bwMode="auto">
            <a:xfrm>
              <a:off x="11452882" y="2339148"/>
              <a:ext cx="365525" cy="469220"/>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rgbClr val="4472C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5" name="Group 14">
              <a:extLst>
                <a:ext uri="{FF2B5EF4-FFF2-40B4-BE49-F238E27FC236}">
                  <a16:creationId xmlns:a16="http://schemas.microsoft.com/office/drawing/2014/main" id="{371C5B42-3C02-4E2C-9645-1E2058AC93A6}"/>
                </a:ext>
              </a:extLst>
            </p:cNvPr>
            <p:cNvGrpSpPr/>
            <p:nvPr/>
          </p:nvGrpSpPr>
          <p:grpSpPr>
            <a:xfrm>
              <a:off x="567086" y="2452504"/>
              <a:ext cx="420692" cy="420692"/>
              <a:chOff x="7023101" y="1343025"/>
              <a:chExt cx="287338" cy="287338"/>
            </a:xfrm>
            <a:solidFill>
              <a:srgbClr val="4472C4"/>
            </a:solidFill>
          </p:grpSpPr>
          <p:sp>
            <p:nvSpPr>
              <p:cNvPr id="16" name="Freeform 252">
                <a:extLst>
                  <a:ext uri="{FF2B5EF4-FFF2-40B4-BE49-F238E27FC236}">
                    <a16:creationId xmlns:a16="http://schemas.microsoft.com/office/drawing/2014/main" id="{DAFB23F5-1083-409D-8EAE-C60D53047901}"/>
                  </a:ext>
                </a:extLst>
              </p:cNvPr>
              <p:cNvSpPr>
                <a:spLocks/>
              </p:cNvSpPr>
              <p:nvPr/>
            </p:nvSpPr>
            <p:spPr bwMode="auto">
              <a:xfrm>
                <a:off x="7023101" y="1620838"/>
                <a:ext cx="287338" cy="9525"/>
              </a:xfrm>
              <a:custGeom>
                <a:avLst/>
                <a:gdLst>
                  <a:gd name="T0" fmla="*/ 888 w 903"/>
                  <a:gd name="T1" fmla="*/ 0 h 31"/>
                  <a:gd name="T2" fmla="*/ 15 w 903"/>
                  <a:gd name="T3" fmla="*/ 0 h 31"/>
                  <a:gd name="T4" fmla="*/ 12 w 903"/>
                  <a:gd name="T5" fmla="*/ 1 h 31"/>
                  <a:gd name="T6" fmla="*/ 10 w 903"/>
                  <a:gd name="T7" fmla="*/ 2 h 31"/>
                  <a:gd name="T8" fmla="*/ 7 w 903"/>
                  <a:gd name="T9" fmla="*/ 4 h 31"/>
                  <a:gd name="T10" fmla="*/ 4 w 903"/>
                  <a:gd name="T11" fmla="*/ 6 h 31"/>
                  <a:gd name="T12" fmla="*/ 3 w 903"/>
                  <a:gd name="T13" fmla="*/ 8 h 31"/>
                  <a:gd name="T14" fmla="*/ 1 w 903"/>
                  <a:gd name="T15" fmla="*/ 10 h 31"/>
                  <a:gd name="T16" fmla="*/ 1 w 903"/>
                  <a:gd name="T17" fmla="*/ 13 h 31"/>
                  <a:gd name="T18" fmla="*/ 0 w 903"/>
                  <a:gd name="T19" fmla="*/ 16 h 31"/>
                  <a:gd name="T20" fmla="*/ 1 w 903"/>
                  <a:gd name="T21" fmla="*/ 19 h 31"/>
                  <a:gd name="T22" fmla="*/ 1 w 903"/>
                  <a:gd name="T23" fmla="*/ 22 h 31"/>
                  <a:gd name="T24" fmla="*/ 3 w 903"/>
                  <a:gd name="T25" fmla="*/ 24 h 31"/>
                  <a:gd name="T26" fmla="*/ 4 w 903"/>
                  <a:gd name="T27" fmla="*/ 26 h 31"/>
                  <a:gd name="T28" fmla="*/ 7 w 903"/>
                  <a:gd name="T29" fmla="*/ 28 h 31"/>
                  <a:gd name="T30" fmla="*/ 10 w 903"/>
                  <a:gd name="T31" fmla="*/ 29 h 31"/>
                  <a:gd name="T32" fmla="*/ 12 w 903"/>
                  <a:gd name="T33" fmla="*/ 30 h 31"/>
                  <a:gd name="T34" fmla="*/ 15 w 903"/>
                  <a:gd name="T35" fmla="*/ 31 h 31"/>
                  <a:gd name="T36" fmla="*/ 888 w 903"/>
                  <a:gd name="T37" fmla="*/ 30 h 31"/>
                  <a:gd name="T38" fmla="*/ 891 w 903"/>
                  <a:gd name="T39" fmla="*/ 30 h 31"/>
                  <a:gd name="T40" fmla="*/ 895 w 903"/>
                  <a:gd name="T41" fmla="*/ 29 h 31"/>
                  <a:gd name="T42" fmla="*/ 897 w 903"/>
                  <a:gd name="T43" fmla="*/ 28 h 31"/>
                  <a:gd name="T44" fmla="*/ 899 w 903"/>
                  <a:gd name="T45" fmla="*/ 26 h 31"/>
                  <a:gd name="T46" fmla="*/ 901 w 903"/>
                  <a:gd name="T47" fmla="*/ 24 h 31"/>
                  <a:gd name="T48" fmla="*/ 902 w 903"/>
                  <a:gd name="T49" fmla="*/ 22 h 31"/>
                  <a:gd name="T50" fmla="*/ 903 w 903"/>
                  <a:gd name="T51" fmla="*/ 19 h 31"/>
                  <a:gd name="T52" fmla="*/ 903 w 903"/>
                  <a:gd name="T53" fmla="*/ 16 h 31"/>
                  <a:gd name="T54" fmla="*/ 903 w 903"/>
                  <a:gd name="T55" fmla="*/ 13 h 31"/>
                  <a:gd name="T56" fmla="*/ 902 w 903"/>
                  <a:gd name="T57" fmla="*/ 10 h 31"/>
                  <a:gd name="T58" fmla="*/ 901 w 903"/>
                  <a:gd name="T59" fmla="*/ 8 h 31"/>
                  <a:gd name="T60" fmla="*/ 899 w 903"/>
                  <a:gd name="T61" fmla="*/ 6 h 31"/>
                  <a:gd name="T62" fmla="*/ 897 w 903"/>
                  <a:gd name="T63" fmla="*/ 4 h 31"/>
                  <a:gd name="T64" fmla="*/ 895 w 903"/>
                  <a:gd name="T65" fmla="*/ 2 h 31"/>
                  <a:gd name="T66" fmla="*/ 891 w 903"/>
                  <a:gd name="T67" fmla="*/ 1 h 31"/>
                  <a:gd name="T68" fmla="*/ 888 w 903"/>
                  <a:gd name="T69" fmla="*/ 1 h 31"/>
                  <a:gd name="T70" fmla="*/ 888 w 903"/>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3" h="31">
                    <a:moveTo>
                      <a:pt x="888" y="0"/>
                    </a:moveTo>
                    <a:lnTo>
                      <a:pt x="15" y="0"/>
                    </a:lnTo>
                    <a:lnTo>
                      <a:pt x="12" y="1"/>
                    </a:lnTo>
                    <a:lnTo>
                      <a:pt x="10" y="2"/>
                    </a:lnTo>
                    <a:lnTo>
                      <a:pt x="7" y="4"/>
                    </a:lnTo>
                    <a:lnTo>
                      <a:pt x="4" y="6"/>
                    </a:lnTo>
                    <a:lnTo>
                      <a:pt x="3" y="8"/>
                    </a:lnTo>
                    <a:lnTo>
                      <a:pt x="1" y="10"/>
                    </a:lnTo>
                    <a:lnTo>
                      <a:pt x="1" y="13"/>
                    </a:lnTo>
                    <a:lnTo>
                      <a:pt x="0" y="16"/>
                    </a:lnTo>
                    <a:lnTo>
                      <a:pt x="1" y="19"/>
                    </a:lnTo>
                    <a:lnTo>
                      <a:pt x="1" y="22"/>
                    </a:lnTo>
                    <a:lnTo>
                      <a:pt x="3" y="24"/>
                    </a:lnTo>
                    <a:lnTo>
                      <a:pt x="4" y="26"/>
                    </a:lnTo>
                    <a:lnTo>
                      <a:pt x="7" y="28"/>
                    </a:lnTo>
                    <a:lnTo>
                      <a:pt x="10" y="29"/>
                    </a:lnTo>
                    <a:lnTo>
                      <a:pt x="12" y="30"/>
                    </a:lnTo>
                    <a:lnTo>
                      <a:pt x="15" y="31"/>
                    </a:lnTo>
                    <a:lnTo>
                      <a:pt x="888" y="30"/>
                    </a:lnTo>
                    <a:lnTo>
                      <a:pt x="891" y="30"/>
                    </a:lnTo>
                    <a:lnTo>
                      <a:pt x="895" y="29"/>
                    </a:lnTo>
                    <a:lnTo>
                      <a:pt x="897" y="28"/>
                    </a:lnTo>
                    <a:lnTo>
                      <a:pt x="899" y="26"/>
                    </a:lnTo>
                    <a:lnTo>
                      <a:pt x="901" y="24"/>
                    </a:lnTo>
                    <a:lnTo>
                      <a:pt x="902" y="22"/>
                    </a:lnTo>
                    <a:lnTo>
                      <a:pt x="903" y="19"/>
                    </a:lnTo>
                    <a:lnTo>
                      <a:pt x="903" y="16"/>
                    </a:lnTo>
                    <a:lnTo>
                      <a:pt x="903" y="13"/>
                    </a:lnTo>
                    <a:lnTo>
                      <a:pt x="902" y="10"/>
                    </a:lnTo>
                    <a:lnTo>
                      <a:pt x="901" y="8"/>
                    </a:lnTo>
                    <a:lnTo>
                      <a:pt x="899" y="6"/>
                    </a:lnTo>
                    <a:lnTo>
                      <a:pt x="897" y="4"/>
                    </a:lnTo>
                    <a:lnTo>
                      <a:pt x="895" y="2"/>
                    </a:lnTo>
                    <a:lnTo>
                      <a:pt x="891" y="1"/>
                    </a:lnTo>
                    <a:lnTo>
                      <a:pt x="888" y="1"/>
                    </a:lnTo>
                    <a:lnTo>
                      <a:pt x="88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253">
                <a:extLst>
                  <a:ext uri="{FF2B5EF4-FFF2-40B4-BE49-F238E27FC236}">
                    <a16:creationId xmlns:a16="http://schemas.microsoft.com/office/drawing/2014/main" id="{9F7AE830-4485-46AC-AFAA-70804740F9FB}"/>
                  </a:ext>
                </a:extLst>
              </p:cNvPr>
              <p:cNvSpPr>
                <a:spLocks noEditPoints="1"/>
              </p:cNvSpPr>
              <p:nvPr/>
            </p:nvSpPr>
            <p:spPr bwMode="auto">
              <a:xfrm>
                <a:off x="7023101" y="1343025"/>
                <a:ext cx="287338" cy="258762"/>
              </a:xfrm>
              <a:custGeom>
                <a:avLst/>
                <a:gdLst>
                  <a:gd name="T0" fmla="*/ 768 w 903"/>
                  <a:gd name="T1" fmla="*/ 723 h 813"/>
                  <a:gd name="T2" fmla="*/ 90 w 903"/>
                  <a:gd name="T3" fmla="*/ 783 h 813"/>
                  <a:gd name="T4" fmla="*/ 181 w 903"/>
                  <a:gd name="T5" fmla="*/ 331 h 813"/>
                  <a:gd name="T6" fmla="*/ 151 w 903"/>
                  <a:gd name="T7" fmla="*/ 331 h 813"/>
                  <a:gd name="T8" fmla="*/ 843 w 903"/>
                  <a:gd name="T9" fmla="*/ 301 h 813"/>
                  <a:gd name="T10" fmla="*/ 60 w 903"/>
                  <a:gd name="T11" fmla="*/ 301 h 813"/>
                  <a:gd name="T12" fmla="*/ 797 w 903"/>
                  <a:gd name="T13" fmla="*/ 211 h 813"/>
                  <a:gd name="T14" fmla="*/ 211 w 903"/>
                  <a:gd name="T15" fmla="*/ 693 h 813"/>
                  <a:gd name="T16" fmla="*/ 301 w 903"/>
                  <a:gd name="T17" fmla="*/ 693 h 813"/>
                  <a:gd name="T18" fmla="*/ 331 w 903"/>
                  <a:gd name="T19" fmla="*/ 331 h 813"/>
                  <a:gd name="T20" fmla="*/ 331 w 903"/>
                  <a:gd name="T21" fmla="*/ 693 h 813"/>
                  <a:gd name="T22" fmla="*/ 512 w 903"/>
                  <a:gd name="T23" fmla="*/ 331 h 813"/>
                  <a:gd name="T24" fmla="*/ 542 w 903"/>
                  <a:gd name="T25" fmla="*/ 693 h 813"/>
                  <a:gd name="T26" fmla="*/ 573 w 903"/>
                  <a:gd name="T27" fmla="*/ 693 h 813"/>
                  <a:gd name="T28" fmla="*/ 603 w 903"/>
                  <a:gd name="T29" fmla="*/ 331 h 813"/>
                  <a:gd name="T30" fmla="*/ 603 w 903"/>
                  <a:gd name="T31" fmla="*/ 693 h 813"/>
                  <a:gd name="T32" fmla="*/ 723 w 903"/>
                  <a:gd name="T33" fmla="*/ 331 h 813"/>
                  <a:gd name="T34" fmla="*/ 15 w 903"/>
                  <a:gd name="T35" fmla="*/ 813 h 813"/>
                  <a:gd name="T36" fmla="*/ 888 w 903"/>
                  <a:gd name="T37" fmla="*/ 813 h 813"/>
                  <a:gd name="T38" fmla="*/ 897 w 903"/>
                  <a:gd name="T39" fmla="*/ 811 h 813"/>
                  <a:gd name="T40" fmla="*/ 902 w 903"/>
                  <a:gd name="T41" fmla="*/ 805 h 813"/>
                  <a:gd name="T42" fmla="*/ 903 w 903"/>
                  <a:gd name="T43" fmla="*/ 796 h 813"/>
                  <a:gd name="T44" fmla="*/ 899 w 903"/>
                  <a:gd name="T45" fmla="*/ 787 h 813"/>
                  <a:gd name="T46" fmla="*/ 891 w 903"/>
                  <a:gd name="T47" fmla="*/ 784 h 813"/>
                  <a:gd name="T48" fmla="*/ 843 w 903"/>
                  <a:gd name="T49" fmla="*/ 708 h 813"/>
                  <a:gd name="T50" fmla="*/ 841 w 903"/>
                  <a:gd name="T51" fmla="*/ 699 h 813"/>
                  <a:gd name="T52" fmla="*/ 834 w 903"/>
                  <a:gd name="T53" fmla="*/ 694 h 813"/>
                  <a:gd name="T54" fmla="*/ 783 w 903"/>
                  <a:gd name="T55" fmla="*/ 693 h 813"/>
                  <a:gd name="T56" fmla="*/ 861 w 903"/>
                  <a:gd name="T57" fmla="*/ 331 h 813"/>
                  <a:gd name="T58" fmla="*/ 869 w 903"/>
                  <a:gd name="T59" fmla="*/ 327 h 813"/>
                  <a:gd name="T60" fmla="*/ 873 w 903"/>
                  <a:gd name="T61" fmla="*/ 320 h 813"/>
                  <a:gd name="T62" fmla="*/ 873 w 903"/>
                  <a:gd name="T63" fmla="*/ 227 h 813"/>
                  <a:gd name="T64" fmla="*/ 871 w 903"/>
                  <a:gd name="T65" fmla="*/ 218 h 813"/>
                  <a:gd name="T66" fmla="*/ 459 w 903"/>
                  <a:gd name="T67" fmla="*/ 2 h 813"/>
                  <a:gd name="T68" fmla="*/ 448 w 903"/>
                  <a:gd name="T69" fmla="*/ 1 h 813"/>
                  <a:gd name="T70" fmla="*/ 38 w 903"/>
                  <a:gd name="T71" fmla="*/ 213 h 813"/>
                  <a:gd name="T72" fmla="*/ 34 w 903"/>
                  <a:gd name="T73" fmla="*/ 216 h 813"/>
                  <a:gd name="T74" fmla="*/ 31 w 903"/>
                  <a:gd name="T75" fmla="*/ 221 h 813"/>
                  <a:gd name="T76" fmla="*/ 30 w 903"/>
                  <a:gd name="T77" fmla="*/ 225 h 813"/>
                  <a:gd name="T78" fmla="*/ 30 w 903"/>
                  <a:gd name="T79" fmla="*/ 316 h 813"/>
                  <a:gd name="T80" fmla="*/ 33 w 903"/>
                  <a:gd name="T81" fmla="*/ 325 h 813"/>
                  <a:gd name="T82" fmla="*/ 40 w 903"/>
                  <a:gd name="T83" fmla="*/ 330 h 813"/>
                  <a:gd name="T84" fmla="*/ 121 w 903"/>
                  <a:gd name="T85" fmla="*/ 331 h 813"/>
                  <a:gd name="T86" fmla="*/ 73 w 903"/>
                  <a:gd name="T87" fmla="*/ 693 h 813"/>
                  <a:gd name="T88" fmla="*/ 64 w 903"/>
                  <a:gd name="T89" fmla="*/ 697 h 813"/>
                  <a:gd name="T90" fmla="*/ 61 w 903"/>
                  <a:gd name="T91" fmla="*/ 705 h 813"/>
                  <a:gd name="T92" fmla="*/ 15 w 903"/>
                  <a:gd name="T93" fmla="*/ 783 h 813"/>
                  <a:gd name="T94" fmla="*/ 7 w 903"/>
                  <a:gd name="T95" fmla="*/ 786 h 813"/>
                  <a:gd name="T96" fmla="*/ 1 w 903"/>
                  <a:gd name="T97" fmla="*/ 793 h 813"/>
                  <a:gd name="T98" fmla="*/ 1 w 903"/>
                  <a:gd name="T99" fmla="*/ 801 h 813"/>
                  <a:gd name="T100" fmla="*/ 4 w 903"/>
                  <a:gd name="T101" fmla="*/ 809 h 813"/>
                  <a:gd name="T102" fmla="*/ 12 w 903"/>
                  <a:gd name="T103"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3" h="813">
                    <a:moveTo>
                      <a:pt x="90" y="723"/>
                    </a:moveTo>
                    <a:lnTo>
                      <a:pt x="136" y="723"/>
                    </a:lnTo>
                    <a:lnTo>
                      <a:pt x="768" y="723"/>
                    </a:lnTo>
                    <a:lnTo>
                      <a:pt x="813" y="723"/>
                    </a:lnTo>
                    <a:lnTo>
                      <a:pt x="813" y="783"/>
                    </a:lnTo>
                    <a:lnTo>
                      <a:pt x="90" y="783"/>
                    </a:lnTo>
                    <a:lnTo>
                      <a:pt x="90" y="723"/>
                    </a:lnTo>
                    <a:close/>
                    <a:moveTo>
                      <a:pt x="151" y="331"/>
                    </a:moveTo>
                    <a:lnTo>
                      <a:pt x="181" y="331"/>
                    </a:lnTo>
                    <a:lnTo>
                      <a:pt x="181" y="693"/>
                    </a:lnTo>
                    <a:lnTo>
                      <a:pt x="151" y="693"/>
                    </a:lnTo>
                    <a:lnTo>
                      <a:pt x="151" y="331"/>
                    </a:lnTo>
                    <a:close/>
                    <a:moveTo>
                      <a:pt x="60" y="241"/>
                    </a:moveTo>
                    <a:lnTo>
                      <a:pt x="843" y="241"/>
                    </a:lnTo>
                    <a:lnTo>
                      <a:pt x="843" y="301"/>
                    </a:lnTo>
                    <a:lnTo>
                      <a:pt x="768" y="301"/>
                    </a:lnTo>
                    <a:lnTo>
                      <a:pt x="136" y="301"/>
                    </a:lnTo>
                    <a:lnTo>
                      <a:pt x="60" y="301"/>
                    </a:lnTo>
                    <a:lnTo>
                      <a:pt x="60" y="241"/>
                    </a:lnTo>
                    <a:close/>
                    <a:moveTo>
                      <a:pt x="452" y="32"/>
                    </a:moveTo>
                    <a:lnTo>
                      <a:pt x="797" y="211"/>
                    </a:lnTo>
                    <a:lnTo>
                      <a:pt x="107" y="211"/>
                    </a:lnTo>
                    <a:lnTo>
                      <a:pt x="452" y="32"/>
                    </a:lnTo>
                    <a:close/>
                    <a:moveTo>
                      <a:pt x="211" y="693"/>
                    </a:moveTo>
                    <a:lnTo>
                      <a:pt x="211" y="331"/>
                    </a:lnTo>
                    <a:lnTo>
                      <a:pt x="301" y="331"/>
                    </a:lnTo>
                    <a:lnTo>
                      <a:pt x="301" y="693"/>
                    </a:lnTo>
                    <a:lnTo>
                      <a:pt x="211" y="693"/>
                    </a:lnTo>
                    <a:close/>
                    <a:moveTo>
                      <a:pt x="331" y="693"/>
                    </a:moveTo>
                    <a:lnTo>
                      <a:pt x="331" y="331"/>
                    </a:lnTo>
                    <a:lnTo>
                      <a:pt x="362" y="331"/>
                    </a:lnTo>
                    <a:lnTo>
                      <a:pt x="362" y="693"/>
                    </a:lnTo>
                    <a:lnTo>
                      <a:pt x="331" y="693"/>
                    </a:lnTo>
                    <a:close/>
                    <a:moveTo>
                      <a:pt x="392" y="693"/>
                    </a:moveTo>
                    <a:lnTo>
                      <a:pt x="392" y="331"/>
                    </a:lnTo>
                    <a:lnTo>
                      <a:pt x="512" y="331"/>
                    </a:lnTo>
                    <a:lnTo>
                      <a:pt x="512" y="693"/>
                    </a:lnTo>
                    <a:lnTo>
                      <a:pt x="392" y="693"/>
                    </a:lnTo>
                    <a:close/>
                    <a:moveTo>
                      <a:pt x="542" y="693"/>
                    </a:moveTo>
                    <a:lnTo>
                      <a:pt x="542" y="331"/>
                    </a:lnTo>
                    <a:lnTo>
                      <a:pt x="573" y="331"/>
                    </a:lnTo>
                    <a:lnTo>
                      <a:pt x="573" y="693"/>
                    </a:lnTo>
                    <a:lnTo>
                      <a:pt x="542" y="693"/>
                    </a:lnTo>
                    <a:close/>
                    <a:moveTo>
                      <a:pt x="603" y="693"/>
                    </a:moveTo>
                    <a:lnTo>
                      <a:pt x="603" y="331"/>
                    </a:lnTo>
                    <a:lnTo>
                      <a:pt x="693" y="331"/>
                    </a:lnTo>
                    <a:lnTo>
                      <a:pt x="693" y="693"/>
                    </a:lnTo>
                    <a:lnTo>
                      <a:pt x="603" y="693"/>
                    </a:lnTo>
                    <a:close/>
                    <a:moveTo>
                      <a:pt x="753" y="693"/>
                    </a:moveTo>
                    <a:lnTo>
                      <a:pt x="723" y="693"/>
                    </a:lnTo>
                    <a:lnTo>
                      <a:pt x="723" y="331"/>
                    </a:lnTo>
                    <a:lnTo>
                      <a:pt x="753" y="331"/>
                    </a:lnTo>
                    <a:lnTo>
                      <a:pt x="753" y="693"/>
                    </a:lnTo>
                    <a:close/>
                    <a:moveTo>
                      <a:pt x="15" y="813"/>
                    </a:moveTo>
                    <a:lnTo>
                      <a:pt x="75" y="813"/>
                    </a:lnTo>
                    <a:lnTo>
                      <a:pt x="828" y="813"/>
                    </a:lnTo>
                    <a:lnTo>
                      <a:pt x="888" y="813"/>
                    </a:lnTo>
                    <a:lnTo>
                      <a:pt x="891" y="813"/>
                    </a:lnTo>
                    <a:lnTo>
                      <a:pt x="895" y="812"/>
                    </a:lnTo>
                    <a:lnTo>
                      <a:pt x="897" y="811"/>
                    </a:lnTo>
                    <a:lnTo>
                      <a:pt x="899" y="809"/>
                    </a:lnTo>
                    <a:lnTo>
                      <a:pt x="901" y="807"/>
                    </a:lnTo>
                    <a:lnTo>
                      <a:pt x="902" y="805"/>
                    </a:lnTo>
                    <a:lnTo>
                      <a:pt x="903" y="801"/>
                    </a:lnTo>
                    <a:lnTo>
                      <a:pt x="903" y="798"/>
                    </a:lnTo>
                    <a:lnTo>
                      <a:pt x="903" y="796"/>
                    </a:lnTo>
                    <a:lnTo>
                      <a:pt x="902" y="793"/>
                    </a:lnTo>
                    <a:lnTo>
                      <a:pt x="901" y="791"/>
                    </a:lnTo>
                    <a:lnTo>
                      <a:pt x="899" y="787"/>
                    </a:lnTo>
                    <a:lnTo>
                      <a:pt x="897" y="786"/>
                    </a:lnTo>
                    <a:lnTo>
                      <a:pt x="895" y="784"/>
                    </a:lnTo>
                    <a:lnTo>
                      <a:pt x="891" y="784"/>
                    </a:lnTo>
                    <a:lnTo>
                      <a:pt x="888" y="783"/>
                    </a:lnTo>
                    <a:lnTo>
                      <a:pt x="843" y="783"/>
                    </a:lnTo>
                    <a:lnTo>
                      <a:pt x="843" y="708"/>
                    </a:lnTo>
                    <a:lnTo>
                      <a:pt x="843" y="705"/>
                    </a:lnTo>
                    <a:lnTo>
                      <a:pt x="842" y="703"/>
                    </a:lnTo>
                    <a:lnTo>
                      <a:pt x="841" y="699"/>
                    </a:lnTo>
                    <a:lnTo>
                      <a:pt x="839" y="697"/>
                    </a:lnTo>
                    <a:lnTo>
                      <a:pt x="837" y="696"/>
                    </a:lnTo>
                    <a:lnTo>
                      <a:pt x="834" y="694"/>
                    </a:lnTo>
                    <a:lnTo>
                      <a:pt x="831" y="693"/>
                    </a:lnTo>
                    <a:lnTo>
                      <a:pt x="828" y="693"/>
                    </a:lnTo>
                    <a:lnTo>
                      <a:pt x="783" y="693"/>
                    </a:lnTo>
                    <a:lnTo>
                      <a:pt x="783" y="331"/>
                    </a:lnTo>
                    <a:lnTo>
                      <a:pt x="858" y="331"/>
                    </a:lnTo>
                    <a:lnTo>
                      <a:pt x="861" y="331"/>
                    </a:lnTo>
                    <a:lnTo>
                      <a:pt x="865" y="330"/>
                    </a:lnTo>
                    <a:lnTo>
                      <a:pt x="867" y="329"/>
                    </a:lnTo>
                    <a:lnTo>
                      <a:pt x="869" y="327"/>
                    </a:lnTo>
                    <a:lnTo>
                      <a:pt x="871" y="325"/>
                    </a:lnTo>
                    <a:lnTo>
                      <a:pt x="872" y="323"/>
                    </a:lnTo>
                    <a:lnTo>
                      <a:pt x="873" y="320"/>
                    </a:lnTo>
                    <a:lnTo>
                      <a:pt x="873" y="316"/>
                    </a:lnTo>
                    <a:lnTo>
                      <a:pt x="873" y="227"/>
                    </a:lnTo>
                    <a:lnTo>
                      <a:pt x="873" y="227"/>
                    </a:lnTo>
                    <a:lnTo>
                      <a:pt x="874" y="226"/>
                    </a:lnTo>
                    <a:lnTo>
                      <a:pt x="873" y="222"/>
                    </a:lnTo>
                    <a:lnTo>
                      <a:pt x="871" y="218"/>
                    </a:lnTo>
                    <a:lnTo>
                      <a:pt x="868" y="215"/>
                    </a:lnTo>
                    <a:lnTo>
                      <a:pt x="863" y="212"/>
                    </a:lnTo>
                    <a:lnTo>
                      <a:pt x="459" y="2"/>
                    </a:lnTo>
                    <a:lnTo>
                      <a:pt x="456" y="1"/>
                    </a:lnTo>
                    <a:lnTo>
                      <a:pt x="452" y="0"/>
                    </a:lnTo>
                    <a:lnTo>
                      <a:pt x="448" y="1"/>
                    </a:lnTo>
                    <a:lnTo>
                      <a:pt x="445" y="2"/>
                    </a:lnTo>
                    <a:lnTo>
                      <a:pt x="39" y="213"/>
                    </a:lnTo>
                    <a:lnTo>
                      <a:pt x="38" y="213"/>
                    </a:lnTo>
                    <a:lnTo>
                      <a:pt x="35" y="215"/>
                    </a:lnTo>
                    <a:lnTo>
                      <a:pt x="35" y="216"/>
                    </a:lnTo>
                    <a:lnTo>
                      <a:pt x="34" y="216"/>
                    </a:lnTo>
                    <a:lnTo>
                      <a:pt x="33" y="218"/>
                    </a:lnTo>
                    <a:lnTo>
                      <a:pt x="32" y="220"/>
                    </a:lnTo>
                    <a:lnTo>
                      <a:pt x="31" y="221"/>
                    </a:lnTo>
                    <a:lnTo>
                      <a:pt x="31" y="222"/>
                    </a:lnTo>
                    <a:lnTo>
                      <a:pt x="31" y="223"/>
                    </a:lnTo>
                    <a:lnTo>
                      <a:pt x="30" y="225"/>
                    </a:lnTo>
                    <a:lnTo>
                      <a:pt x="30" y="226"/>
                    </a:lnTo>
                    <a:lnTo>
                      <a:pt x="30" y="226"/>
                    </a:lnTo>
                    <a:lnTo>
                      <a:pt x="30" y="316"/>
                    </a:lnTo>
                    <a:lnTo>
                      <a:pt x="31" y="320"/>
                    </a:lnTo>
                    <a:lnTo>
                      <a:pt x="31" y="323"/>
                    </a:lnTo>
                    <a:lnTo>
                      <a:pt x="33" y="325"/>
                    </a:lnTo>
                    <a:lnTo>
                      <a:pt x="34" y="327"/>
                    </a:lnTo>
                    <a:lnTo>
                      <a:pt x="38" y="329"/>
                    </a:lnTo>
                    <a:lnTo>
                      <a:pt x="40" y="330"/>
                    </a:lnTo>
                    <a:lnTo>
                      <a:pt x="43" y="331"/>
                    </a:lnTo>
                    <a:lnTo>
                      <a:pt x="45" y="331"/>
                    </a:lnTo>
                    <a:lnTo>
                      <a:pt x="121" y="331"/>
                    </a:lnTo>
                    <a:lnTo>
                      <a:pt x="121" y="693"/>
                    </a:lnTo>
                    <a:lnTo>
                      <a:pt x="75" y="693"/>
                    </a:lnTo>
                    <a:lnTo>
                      <a:pt x="73" y="693"/>
                    </a:lnTo>
                    <a:lnTo>
                      <a:pt x="70" y="694"/>
                    </a:lnTo>
                    <a:lnTo>
                      <a:pt x="68" y="695"/>
                    </a:lnTo>
                    <a:lnTo>
                      <a:pt x="64" y="697"/>
                    </a:lnTo>
                    <a:lnTo>
                      <a:pt x="63" y="699"/>
                    </a:lnTo>
                    <a:lnTo>
                      <a:pt x="61" y="703"/>
                    </a:lnTo>
                    <a:lnTo>
                      <a:pt x="61" y="705"/>
                    </a:lnTo>
                    <a:lnTo>
                      <a:pt x="60" y="708"/>
                    </a:lnTo>
                    <a:lnTo>
                      <a:pt x="60" y="783"/>
                    </a:lnTo>
                    <a:lnTo>
                      <a:pt x="15" y="783"/>
                    </a:lnTo>
                    <a:lnTo>
                      <a:pt x="12" y="784"/>
                    </a:lnTo>
                    <a:lnTo>
                      <a:pt x="10" y="784"/>
                    </a:lnTo>
                    <a:lnTo>
                      <a:pt x="7" y="786"/>
                    </a:lnTo>
                    <a:lnTo>
                      <a:pt x="4" y="787"/>
                    </a:lnTo>
                    <a:lnTo>
                      <a:pt x="3" y="791"/>
                    </a:lnTo>
                    <a:lnTo>
                      <a:pt x="1" y="793"/>
                    </a:lnTo>
                    <a:lnTo>
                      <a:pt x="1" y="796"/>
                    </a:lnTo>
                    <a:lnTo>
                      <a:pt x="0" y="798"/>
                    </a:lnTo>
                    <a:lnTo>
                      <a:pt x="1" y="801"/>
                    </a:lnTo>
                    <a:lnTo>
                      <a:pt x="1" y="805"/>
                    </a:lnTo>
                    <a:lnTo>
                      <a:pt x="3" y="807"/>
                    </a:lnTo>
                    <a:lnTo>
                      <a:pt x="4" y="809"/>
                    </a:lnTo>
                    <a:lnTo>
                      <a:pt x="7" y="811"/>
                    </a:lnTo>
                    <a:lnTo>
                      <a:pt x="10" y="812"/>
                    </a:lnTo>
                    <a:lnTo>
                      <a:pt x="12" y="813"/>
                    </a:lnTo>
                    <a:lnTo>
                      <a:pt x="15" y="8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 name="Rectangle 17">
              <a:extLst>
                <a:ext uri="{FF2B5EF4-FFF2-40B4-BE49-F238E27FC236}">
                  <a16:creationId xmlns:a16="http://schemas.microsoft.com/office/drawing/2014/main" id="{18A1F851-3619-40C0-B2FD-E7E80BBE6410}"/>
                </a:ext>
              </a:extLst>
            </p:cNvPr>
            <p:cNvSpPr/>
            <p:nvPr/>
          </p:nvSpPr>
          <p:spPr>
            <a:xfrm>
              <a:off x="8384805" y="2585271"/>
              <a:ext cx="2819417" cy="646331"/>
            </a:xfrm>
            <a:prstGeom prst="rect">
              <a:avLst/>
            </a:prstGeom>
          </p:spPr>
          <p:txBody>
            <a:bodyPr wrap="square">
              <a:spAutoFit/>
            </a:bodyPr>
            <a:lstStyle/>
            <a:p>
              <a:pPr algn="r">
                <a:buClr>
                  <a:srgbClr val="E24848"/>
                </a:buClr>
              </a:pPr>
              <a:r>
                <a:rPr lang="en-US" sz="1200" noProof="1">
                  <a:solidFill>
                    <a:schemeClr val="tx1">
                      <a:lumMod val="50000"/>
                      <a:lumOff val="50000"/>
                    </a:schemeClr>
                  </a:solidFill>
                  <a:latin typeface="Barlow" panose="00000500000000000000" pitchFamily="50" charset="0"/>
                  <a:ea typeface="Open Sans Light" panose="020B0306030504020204" pitchFamily="34" charset="0"/>
                  <a:cs typeface="Open Sans Light" panose="020B0306030504020204" pitchFamily="34" charset="0"/>
                </a:rPr>
                <a:t>we are companies often specify a typeface, or even a set of fonts,  part of their brand guides However, if you a</a:t>
              </a:r>
            </a:p>
          </p:txBody>
        </p:sp>
        <p:sp>
          <p:nvSpPr>
            <p:cNvPr id="19" name="Title 1">
              <a:extLst>
                <a:ext uri="{FF2B5EF4-FFF2-40B4-BE49-F238E27FC236}">
                  <a16:creationId xmlns:a16="http://schemas.microsoft.com/office/drawing/2014/main" id="{3321FAB3-6446-4FF5-93EF-D8B56DAEACB4}"/>
                </a:ext>
              </a:extLst>
            </p:cNvPr>
            <p:cNvSpPr txBox="1">
              <a:spLocks/>
            </p:cNvSpPr>
            <p:nvPr/>
          </p:nvSpPr>
          <p:spPr>
            <a:xfrm>
              <a:off x="3762375" y="4712716"/>
              <a:ext cx="4667250" cy="512920"/>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en-US" sz="1800" b="1" dirty="0">
                  <a:solidFill>
                    <a:schemeClr val="bg1"/>
                  </a:solidFill>
                  <a:latin typeface="Barlow ExtraBold" panose="00000900000000000000" pitchFamily="2" charset="0"/>
                  <a:ea typeface="Roboto" panose="02000000000000000000" pitchFamily="2" charset="0"/>
                  <a:cs typeface="Lato Light" panose="020F0402020204030203" pitchFamily="34" charset="0"/>
                </a:rPr>
                <a:t>Behavior we improving at something to. </a:t>
              </a:r>
            </a:p>
          </p:txBody>
        </p:sp>
        <p:sp>
          <p:nvSpPr>
            <p:cNvPr id="20" name="Rectangle 19">
              <a:extLst>
                <a:ext uri="{FF2B5EF4-FFF2-40B4-BE49-F238E27FC236}">
                  <a16:creationId xmlns:a16="http://schemas.microsoft.com/office/drawing/2014/main" id="{E286CD38-9154-4B46-8EB8-9158587E3BA4}"/>
                </a:ext>
              </a:extLst>
            </p:cNvPr>
            <p:cNvSpPr/>
            <p:nvPr/>
          </p:nvSpPr>
          <p:spPr>
            <a:xfrm>
              <a:off x="1997997" y="5248821"/>
              <a:ext cx="8209602" cy="646331"/>
            </a:xfrm>
            <a:prstGeom prst="rect">
              <a:avLst/>
            </a:prstGeom>
          </p:spPr>
          <p:txBody>
            <a:bodyPr wrap="square">
              <a:spAutoFit/>
            </a:bodyPr>
            <a:lstStyle/>
            <a:p>
              <a:pPr algn="ctr">
                <a:buClr>
                  <a:srgbClr val="E24848"/>
                </a:buClr>
                <a:defRPr/>
              </a:pPr>
              <a:r>
                <a:rPr lang="en-US" sz="1200" noProof="1">
                  <a:solidFill>
                    <a:schemeClr val="bg1"/>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Lorem ipsum dolor sit amet, consectetur adipiscing elit. Nulla imperdiet volutpat dui at fermentum. Aliquam erat volutpat. Aenean lacinia lacus aliquet ante mollis, sollicitudin </a:t>
              </a:r>
            </a:p>
          </p:txBody>
        </p:sp>
      </p:grpSp>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308098" cy="215444"/>
          </a:xfrm>
          <a:prstGeom prst="rect">
            <a:avLst/>
          </a:prstGeom>
          <a:noFill/>
        </p:spPr>
        <p:txBody>
          <a:bodyPr wrap="none" rtlCol="0">
            <a:spAutoFit/>
          </a:bodyPr>
          <a:lstStyle/>
          <a:p>
            <a:r>
              <a:rPr lang="en-US" sz="800" dirty="0">
                <a:latin typeface="Barlow ExtraBold" panose="00000900000000000000" pitchFamily="2" charset="0"/>
              </a:rPr>
              <a:t>04</a:t>
            </a:r>
            <a:endParaRPr lang="en-PK" sz="800" dirty="0">
              <a:latin typeface="Barlow ExtraBold" panose="00000900000000000000" pitchFamily="2" charset="0"/>
            </a:endParaRPr>
          </a:p>
        </p:txBody>
      </p:sp>
    </p:spTree>
    <p:extLst>
      <p:ext uri="{BB962C8B-B14F-4D97-AF65-F5344CB8AC3E}">
        <p14:creationId xmlns:p14="http://schemas.microsoft.com/office/powerpoint/2010/main" val="3742649841"/>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up)">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82E83F7-8A56-4E92-B182-3F69E56B83F8}"/>
              </a:ext>
            </a:extLst>
          </p:cNvPr>
          <p:cNvSpPr/>
          <p:nvPr/>
        </p:nvSpPr>
        <p:spPr>
          <a:xfrm>
            <a:off x="0" y="0"/>
            <a:ext cx="12192000" cy="6665913"/>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Freeform: Shape 25">
            <a:extLst>
              <a:ext uri="{FF2B5EF4-FFF2-40B4-BE49-F238E27FC236}">
                <a16:creationId xmlns:a16="http://schemas.microsoft.com/office/drawing/2014/main" id="{2027C6AD-4414-4F1E-8483-47A8006F8497}"/>
              </a:ext>
            </a:extLst>
          </p:cNvPr>
          <p:cNvSpPr/>
          <p:nvPr/>
        </p:nvSpPr>
        <p:spPr>
          <a:xfrm>
            <a:off x="901220" y="777236"/>
            <a:ext cx="10389556" cy="5100327"/>
          </a:xfrm>
          <a:custGeom>
            <a:avLst/>
            <a:gdLst>
              <a:gd name="connsiteX0" fmla="*/ 16529782 w 22860000"/>
              <a:gd name="connsiteY0" fmla="*/ 1226820 h 12344400"/>
              <a:gd name="connsiteX1" fmla="*/ 11393903 w 22860000"/>
              <a:gd name="connsiteY1" fmla="*/ 6362700 h 12344400"/>
              <a:gd name="connsiteX2" fmla="*/ 16529782 w 22860000"/>
              <a:gd name="connsiteY2" fmla="*/ 11498580 h 12344400"/>
              <a:gd name="connsiteX3" fmla="*/ 21665662 w 22860000"/>
              <a:gd name="connsiteY3" fmla="*/ 6362700 h 12344400"/>
              <a:gd name="connsiteX4" fmla="*/ 16529782 w 22860000"/>
              <a:gd name="connsiteY4" fmla="*/ 1226820 h 12344400"/>
              <a:gd name="connsiteX5" fmla="*/ 0 w 22860000"/>
              <a:gd name="connsiteY5" fmla="*/ 0 h 12344400"/>
              <a:gd name="connsiteX6" fmla="*/ 22860000 w 22860000"/>
              <a:gd name="connsiteY6" fmla="*/ 0 h 12344400"/>
              <a:gd name="connsiteX7" fmla="*/ 22860000 w 22860000"/>
              <a:gd name="connsiteY7" fmla="*/ 12344400 h 12344400"/>
              <a:gd name="connsiteX8" fmla="*/ 0 w 22860000"/>
              <a:gd name="connsiteY8" fmla="*/ 12344400 h 123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00" h="12344400">
                <a:moveTo>
                  <a:pt x="16529782" y="1226820"/>
                </a:moveTo>
                <a:cubicBezTo>
                  <a:pt x="13693315" y="1226820"/>
                  <a:pt x="11393903" y="3526232"/>
                  <a:pt x="11393903" y="6362700"/>
                </a:cubicBezTo>
                <a:cubicBezTo>
                  <a:pt x="11393903" y="9199168"/>
                  <a:pt x="13693315" y="11498580"/>
                  <a:pt x="16529782" y="11498580"/>
                </a:cubicBezTo>
                <a:cubicBezTo>
                  <a:pt x="19366250" y="11498580"/>
                  <a:pt x="21665662" y="9199168"/>
                  <a:pt x="21665662" y="6362700"/>
                </a:cubicBezTo>
                <a:cubicBezTo>
                  <a:pt x="21665662" y="3526232"/>
                  <a:pt x="19366250" y="1226820"/>
                  <a:pt x="16529782" y="1226820"/>
                </a:cubicBezTo>
                <a:close/>
                <a:moveTo>
                  <a:pt x="0" y="0"/>
                </a:moveTo>
                <a:lnTo>
                  <a:pt x="22860000" y="0"/>
                </a:lnTo>
                <a:lnTo>
                  <a:pt x="22860000" y="12344400"/>
                </a:lnTo>
                <a:lnTo>
                  <a:pt x="0" y="12344400"/>
                </a:lnTo>
                <a:close/>
              </a:path>
            </a:pathLst>
          </a:custGeom>
          <a:solidFill>
            <a:schemeClr val="accent1">
              <a:alpha val="30000"/>
            </a:schemeClr>
          </a:solidFill>
          <a:ln>
            <a:noFill/>
          </a:ln>
          <a:effectLst>
            <a:outerShdw blurRad="1270000" dist="266700" algn="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8" name="Freeform: Shape 24">
            <a:extLst>
              <a:ext uri="{FF2B5EF4-FFF2-40B4-BE49-F238E27FC236}">
                <a16:creationId xmlns:a16="http://schemas.microsoft.com/office/drawing/2014/main" id="{6CF0CADC-6CED-4DB7-9C54-43932A876F23}"/>
              </a:ext>
            </a:extLst>
          </p:cNvPr>
          <p:cNvSpPr/>
          <p:nvPr/>
        </p:nvSpPr>
        <p:spPr>
          <a:xfrm>
            <a:off x="901220" y="777236"/>
            <a:ext cx="10389556" cy="5100327"/>
          </a:xfrm>
          <a:custGeom>
            <a:avLst/>
            <a:gdLst>
              <a:gd name="connsiteX0" fmla="*/ 16529782 w 22860000"/>
              <a:gd name="connsiteY0" fmla="*/ 190500 h 12344400"/>
              <a:gd name="connsiteX1" fmla="*/ 10548083 w 22860000"/>
              <a:gd name="connsiteY1" fmla="*/ 6172200 h 12344400"/>
              <a:gd name="connsiteX2" fmla="*/ 16529782 w 22860000"/>
              <a:gd name="connsiteY2" fmla="*/ 12153900 h 12344400"/>
              <a:gd name="connsiteX3" fmla="*/ 22511482 w 22860000"/>
              <a:gd name="connsiteY3" fmla="*/ 6172200 h 12344400"/>
              <a:gd name="connsiteX4" fmla="*/ 16529782 w 22860000"/>
              <a:gd name="connsiteY4" fmla="*/ 190500 h 12344400"/>
              <a:gd name="connsiteX5" fmla="*/ 0 w 22860000"/>
              <a:gd name="connsiteY5" fmla="*/ 0 h 12344400"/>
              <a:gd name="connsiteX6" fmla="*/ 22860000 w 22860000"/>
              <a:gd name="connsiteY6" fmla="*/ 0 h 12344400"/>
              <a:gd name="connsiteX7" fmla="*/ 22860000 w 22860000"/>
              <a:gd name="connsiteY7" fmla="*/ 12344400 h 12344400"/>
              <a:gd name="connsiteX8" fmla="*/ 0 w 22860000"/>
              <a:gd name="connsiteY8" fmla="*/ 12344400 h 123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00" h="12344400">
                <a:moveTo>
                  <a:pt x="16529782" y="190500"/>
                </a:moveTo>
                <a:cubicBezTo>
                  <a:pt x="13226181" y="190500"/>
                  <a:pt x="10548083" y="2868598"/>
                  <a:pt x="10548083" y="6172200"/>
                </a:cubicBezTo>
                <a:cubicBezTo>
                  <a:pt x="10548083" y="9475802"/>
                  <a:pt x="13226181" y="12153900"/>
                  <a:pt x="16529782" y="12153900"/>
                </a:cubicBezTo>
                <a:cubicBezTo>
                  <a:pt x="19833386" y="12153900"/>
                  <a:pt x="22511482" y="9475802"/>
                  <a:pt x="22511482" y="6172200"/>
                </a:cubicBezTo>
                <a:cubicBezTo>
                  <a:pt x="22511482" y="2868598"/>
                  <a:pt x="19833386" y="190500"/>
                  <a:pt x="16529782" y="190500"/>
                </a:cubicBezTo>
                <a:close/>
                <a:moveTo>
                  <a:pt x="0" y="0"/>
                </a:moveTo>
                <a:lnTo>
                  <a:pt x="22860000" y="0"/>
                </a:lnTo>
                <a:lnTo>
                  <a:pt x="22860000" y="12344400"/>
                </a:lnTo>
                <a:lnTo>
                  <a:pt x="0" y="12344400"/>
                </a:lnTo>
                <a:close/>
              </a:path>
            </a:pathLst>
          </a:custGeom>
          <a:solidFill>
            <a:schemeClr val="accent1">
              <a:alpha val="30000"/>
            </a:schemeClr>
          </a:solidFill>
          <a:ln>
            <a:noFill/>
          </a:ln>
          <a:effectLst>
            <a:outerShdw blurRad="1270000" dist="266700" algn="l"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9" name="Freeform: Shape 21">
            <a:extLst>
              <a:ext uri="{FF2B5EF4-FFF2-40B4-BE49-F238E27FC236}">
                <a16:creationId xmlns:a16="http://schemas.microsoft.com/office/drawing/2014/main" id="{6B3DC844-1F5B-4F07-8640-E6D3B53CE224}"/>
              </a:ext>
            </a:extLst>
          </p:cNvPr>
          <p:cNvSpPr/>
          <p:nvPr/>
        </p:nvSpPr>
        <p:spPr>
          <a:xfrm>
            <a:off x="901222" y="777236"/>
            <a:ext cx="10389555" cy="5100327"/>
          </a:xfrm>
          <a:prstGeom prst="rect">
            <a:avLst/>
          </a:prstGeom>
          <a:solidFill>
            <a:schemeClr val="bg1"/>
          </a:solidFill>
          <a:ln>
            <a:noFill/>
          </a:ln>
          <a:effectLst>
            <a:outerShdw blurRad="1270000" dist="215900" dir="8100000" algn="tr"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grpSp>
        <p:nvGrpSpPr>
          <p:cNvPr id="17" name="Group 16">
            <a:extLst>
              <a:ext uri="{FF2B5EF4-FFF2-40B4-BE49-F238E27FC236}">
                <a16:creationId xmlns:a16="http://schemas.microsoft.com/office/drawing/2014/main" id="{4618AE2A-0C13-4261-BD56-71B1B7B70081}"/>
              </a:ext>
            </a:extLst>
          </p:cNvPr>
          <p:cNvGrpSpPr/>
          <p:nvPr/>
        </p:nvGrpSpPr>
        <p:grpSpPr>
          <a:xfrm>
            <a:off x="6348991" y="1136147"/>
            <a:ext cx="3647722" cy="4469244"/>
            <a:chOff x="6348991" y="1136147"/>
            <a:chExt cx="3647722" cy="4469244"/>
          </a:xfrm>
        </p:grpSpPr>
        <p:sp>
          <p:nvSpPr>
            <p:cNvPr id="10" name="Title 11">
              <a:extLst>
                <a:ext uri="{FF2B5EF4-FFF2-40B4-BE49-F238E27FC236}">
                  <a16:creationId xmlns:a16="http://schemas.microsoft.com/office/drawing/2014/main" id="{3A690D6E-3904-48BF-9A48-74F0A220EA0A}"/>
                </a:ext>
              </a:extLst>
            </p:cNvPr>
            <p:cNvSpPr txBox="1">
              <a:spLocks/>
            </p:cNvSpPr>
            <p:nvPr/>
          </p:nvSpPr>
          <p:spPr>
            <a:xfrm>
              <a:off x="6348991" y="1136147"/>
              <a:ext cx="3647722" cy="1238752"/>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Find</a:t>
              </a:r>
            </a:p>
            <a:p>
              <a:pPr algn="l"/>
              <a:r>
                <a:rPr lang="en-US" sz="3600" b="1"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Our Agency</a:t>
              </a:r>
            </a:p>
          </p:txBody>
        </p:sp>
        <p:sp>
          <p:nvSpPr>
            <p:cNvPr id="11" name="Rectangle 10">
              <a:extLst>
                <a:ext uri="{FF2B5EF4-FFF2-40B4-BE49-F238E27FC236}">
                  <a16:creationId xmlns:a16="http://schemas.microsoft.com/office/drawing/2014/main" id="{C1052CBE-DBEB-4F74-9D4C-D5546DD8E75A}"/>
                </a:ext>
              </a:extLst>
            </p:cNvPr>
            <p:cNvSpPr/>
            <p:nvPr/>
          </p:nvSpPr>
          <p:spPr>
            <a:xfrm>
              <a:off x="6348991" y="2555990"/>
              <a:ext cx="3647722" cy="2123658"/>
            </a:xfrm>
            <a:prstGeom prst="rect">
              <a:avLst/>
            </a:prstGeom>
          </p:spPr>
          <p:txBody>
            <a:bodyPr wrap="square">
              <a:spAutoFit/>
            </a:bodyPr>
            <a:lstStyle/>
            <a:p>
              <a:pPr>
                <a:buClr>
                  <a:srgbClr val="E24848"/>
                </a:buClr>
                <a:defRPr/>
              </a:pPr>
              <a:r>
                <a:rPr lang="en-US" sz="1200" noProof="1">
                  <a:solidFill>
                    <a:schemeClr val="tx1">
                      <a:lumMod val="50000"/>
                      <a:lumOff val="50000"/>
                    </a:schemeClr>
                  </a:solidFill>
                  <a:latin typeface="Barlow" panose="00000500000000000000" pitchFamily="50" charset="0"/>
                  <a:ea typeface="Roboto Light" panose="02000000000000000000" pitchFamily="2" charset="0"/>
                  <a:cs typeface="Arial" charset="0"/>
                </a:rPr>
                <a:t>Phenomenon whereby something new and somehow valuable is formed the created item may be intangible such as an idea or a physical object such as an invention, a literary work or a painting scholarly interest in creativity involves many definitions and concepts pertaining to a number of disciplines in a summary.</a:t>
              </a:r>
            </a:p>
            <a:p>
              <a:pPr>
                <a:buClr>
                  <a:srgbClr val="E24848"/>
                </a:buClr>
                <a:defRPr/>
              </a:pPr>
              <a:endParaRPr lang="en-US" sz="1200" noProof="1">
                <a:solidFill>
                  <a:schemeClr val="tx1">
                    <a:lumMod val="50000"/>
                    <a:lumOff val="50000"/>
                  </a:schemeClr>
                </a:solidFill>
                <a:latin typeface="Barlow" panose="00000500000000000000" pitchFamily="50" charset="0"/>
                <a:ea typeface="Roboto Light" panose="02000000000000000000" pitchFamily="2" charset="0"/>
                <a:cs typeface="Arial" charset="0"/>
              </a:endParaRPr>
            </a:p>
            <a:p>
              <a:pPr>
                <a:buClr>
                  <a:srgbClr val="E24848"/>
                </a:buClr>
                <a:defRPr/>
              </a:pPr>
              <a:r>
                <a:rPr lang="en-US" sz="1200" noProof="1">
                  <a:solidFill>
                    <a:schemeClr val="tx1">
                      <a:lumMod val="50000"/>
                      <a:lumOff val="50000"/>
                    </a:schemeClr>
                  </a:solidFill>
                  <a:latin typeface="Barlow" panose="00000500000000000000" pitchFamily="50" charset="0"/>
                  <a:ea typeface="Roboto Light" panose="02000000000000000000" pitchFamily="2" charset="0"/>
                  <a:cs typeface="Arial" charset="0"/>
                </a:rPr>
                <a:t>Scientific research into creativity over the course of the last decade, however, we seem to have reached a general agreement that creativity</a:t>
              </a:r>
            </a:p>
          </p:txBody>
        </p:sp>
        <p:sp>
          <p:nvSpPr>
            <p:cNvPr id="12" name="Rectangle 11">
              <a:extLst>
                <a:ext uri="{FF2B5EF4-FFF2-40B4-BE49-F238E27FC236}">
                  <a16:creationId xmlns:a16="http://schemas.microsoft.com/office/drawing/2014/main" id="{8CE51CDC-DB43-43F4-9C6E-09C71888BD2B}"/>
                </a:ext>
              </a:extLst>
            </p:cNvPr>
            <p:cNvSpPr/>
            <p:nvPr/>
          </p:nvSpPr>
          <p:spPr>
            <a:xfrm>
              <a:off x="6348991" y="5057403"/>
              <a:ext cx="2831401" cy="547988"/>
            </a:xfrm>
            <a:prstGeom prst="rect">
              <a:avLst/>
            </a:prstGeom>
          </p:spPr>
          <p:txBody>
            <a:bodyPr vert="horz" wrap="square" lIns="91416" tIns="45708" rIns="91416" bIns="45708" rtlCol="0" anchor="ctr">
              <a:noAutofit/>
            </a:bodyPr>
            <a:lstStyle/>
            <a:p>
              <a:pPr>
                <a:lnSpc>
                  <a:spcPct val="90000"/>
                </a:lnSpc>
                <a:spcBef>
                  <a:spcPct val="0"/>
                </a:spcBef>
              </a:pPr>
              <a:r>
                <a:rPr lang="en-US" sz="1400" b="1"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MATUY DEA</a:t>
              </a:r>
            </a:p>
            <a:p>
              <a:pPr>
                <a:lnSpc>
                  <a:spcPct val="90000"/>
                </a:lnSpc>
                <a:spcBef>
                  <a:spcPct val="0"/>
                </a:spcBef>
              </a:pPr>
              <a:r>
                <a:rPr lang="en-US" sz="10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CEOCEO &amp; FOUNDER </a:t>
              </a:r>
            </a:p>
          </p:txBody>
        </p:sp>
      </p:grpSp>
      <p:pic>
        <p:nvPicPr>
          <p:cNvPr id="16" name="Picture Placeholder 15">
            <a:extLst>
              <a:ext uri="{FF2B5EF4-FFF2-40B4-BE49-F238E27FC236}">
                <a16:creationId xmlns:a16="http://schemas.microsoft.com/office/drawing/2014/main" id="{52672304-A816-461D-91DB-2B0693F239FC}"/>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14931" b="14931"/>
          <a:stretch>
            <a:fillRect/>
          </a:stretch>
        </p:blipFill>
        <p:spPr/>
      </p:pic>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300082" cy="215444"/>
          </a:xfrm>
          <a:prstGeom prst="rect">
            <a:avLst/>
          </a:prstGeom>
          <a:noFill/>
        </p:spPr>
        <p:txBody>
          <a:bodyPr wrap="none" rtlCol="0">
            <a:spAutoFit/>
          </a:bodyPr>
          <a:lstStyle/>
          <a:p>
            <a:r>
              <a:rPr lang="en-US" sz="800" dirty="0">
                <a:latin typeface="Barlow ExtraBold" panose="00000900000000000000" pitchFamily="2" charset="0"/>
              </a:rPr>
              <a:t>05</a:t>
            </a:r>
            <a:endParaRPr lang="en-PK" sz="800" dirty="0">
              <a:latin typeface="Barlow ExtraBold" panose="00000900000000000000" pitchFamily="2" charset="0"/>
            </a:endParaRPr>
          </a:p>
        </p:txBody>
      </p:sp>
    </p:spTree>
    <p:extLst>
      <p:ext uri="{BB962C8B-B14F-4D97-AF65-F5344CB8AC3E}">
        <p14:creationId xmlns:p14="http://schemas.microsoft.com/office/powerpoint/2010/main" val="4187703802"/>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Placeholder 39">
            <a:extLst>
              <a:ext uri="{FF2B5EF4-FFF2-40B4-BE49-F238E27FC236}">
                <a16:creationId xmlns:a16="http://schemas.microsoft.com/office/drawing/2014/main" id="{50F6D3AD-59D5-444E-B6CC-E6C8D682FD39}"/>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3647" t="-13" r="40819" b="13"/>
          <a:stretch/>
        </p:blipFill>
        <p:spPr>
          <a:xfrm>
            <a:off x="5513" y="759566"/>
            <a:ext cx="3177244" cy="5961908"/>
          </a:xfrm>
          <a:ln w="19050">
            <a:solidFill>
              <a:srgbClr val="4472C4"/>
            </a:solidFill>
          </a:ln>
        </p:spPr>
      </p:pic>
      <p:sp>
        <p:nvSpPr>
          <p:cNvPr id="7" name="Title 11">
            <a:extLst>
              <a:ext uri="{FF2B5EF4-FFF2-40B4-BE49-F238E27FC236}">
                <a16:creationId xmlns:a16="http://schemas.microsoft.com/office/drawing/2014/main" id="{D64B8C83-67D5-4631-B917-140938321BF1}"/>
              </a:ext>
            </a:extLst>
          </p:cNvPr>
          <p:cNvSpPr txBox="1">
            <a:spLocks/>
          </p:cNvSpPr>
          <p:nvPr/>
        </p:nvSpPr>
        <p:spPr>
          <a:xfrm>
            <a:off x="3839318" y="447173"/>
            <a:ext cx="2792464"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Featured</a:t>
            </a:r>
            <a:r>
              <a:rPr lang="en-US" sz="3600" b="1"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 </a:t>
            </a:r>
            <a:r>
              <a:rPr lang="en-US" sz="3600"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List</a:t>
            </a:r>
          </a:p>
        </p:txBody>
      </p:sp>
      <p:sp>
        <p:nvSpPr>
          <p:cNvPr id="8" name="Title 11">
            <a:extLst>
              <a:ext uri="{FF2B5EF4-FFF2-40B4-BE49-F238E27FC236}">
                <a16:creationId xmlns:a16="http://schemas.microsoft.com/office/drawing/2014/main" id="{1CEBBBD3-2350-4110-B7F1-C7DC4BE948D6}"/>
              </a:ext>
            </a:extLst>
          </p:cNvPr>
          <p:cNvSpPr txBox="1">
            <a:spLocks/>
          </p:cNvSpPr>
          <p:nvPr/>
        </p:nvSpPr>
        <p:spPr>
          <a:xfrm>
            <a:off x="3872715" y="1052147"/>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latin typeface="Barlow" panose="00000500000000000000" pitchFamily="50" charset="0"/>
                <a:ea typeface="Roboto" panose="02000000000000000000" pitchFamily="2" charset="0"/>
                <a:cs typeface="Open Sans Light" panose="020B0306030504020204" pitchFamily="34" charset="0"/>
              </a:rPr>
              <a:t>Insert Your Creative Idea </a:t>
            </a:r>
          </a:p>
        </p:txBody>
      </p:sp>
      <p:grpSp>
        <p:nvGrpSpPr>
          <p:cNvPr id="43" name="Group 42">
            <a:extLst>
              <a:ext uri="{FF2B5EF4-FFF2-40B4-BE49-F238E27FC236}">
                <a16:creationId xmlns:a16="http://schemas.microsoft.com/office/drawing/2014/main" id="{6C0E08BC-8131-4A43-9CCA-44D9F2971F23}"/>
              </a:ext>
            </a:extLst>
          </p:cNvPr>
          <p:cNvGrpSpPr/>
          <p:nvPr/>
        </p:nvGrpSpPr>
        <p:grpSpPr>
          <a:xfrm>
            <a:off x="2361884" y="1988701"/>
            <a:ext cx="9182416" cy="3791443"/>
            <a:chOff x="2361884" y="1988701"/>
            <a:chExt cx="9182416" cy="3791443"/>
          </a:xfrm>
        </p:grpSpPr>
        <p:sp>
          <p:nvSpPr>
            <p:cNvPr id="9" name="Rectangle 8">
              <a:extLst>
                <a:ext uri="{FF2B5EF4-FFF2-40B4-BE49-F238E27FC236}">
                  <a16:creationId xmlns:a16="http://schemas.microsoft.com/office/drawing/2014/main" id="{EB4451B8-C485-45BE-AA22-A6B93B1F7981}"/>
                </a:ext>
              </a:extLst>
            </p:cNvPr>
            <p:cNvSpPr/>
            <p:nvPr/>
          </p:nvSpPr>
          <p:spPr>
            <a:xfrm>
              <a:off x="3839317" y="2353000"/>
              <a:ext cx="1796135" cy="600164"/>
            </a:xfrm>
            <a:prstGeom prst="rect">
              <a:avLst/>
            </a:prstGeom>
          </p:spPr>
          <p:txBody>
            <a:bodyPr wrap="square">
              <a:spAutoFit/>
            </a:bodyPr>
            <a:lstStyle/>
            <a:p>
              <a:pPr>
                <a:spcBef>
                  <a:spcPts val="600"/>
                </a:spcBef>
                <a:buClr>
                  <a:srgbClr val="E24848"/>
                </a:buClr>
                <a:defRPr/>
              </a:pPr>
              <a:r>
                <a:rPr lang="en-US" sz="1100" noProof="1">
                  <a:solidFill>
                    <a:schemeClr val="tx1">
                      <a:lumMod val="50000"/>
                      <a:lumOff val="50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0" name="Rectangle 9">
              <a:extLst>
                <a:ext uri="{FF2B5EF4-FFF2-40B4-BE49-F238E27FC236}">
                  <a16:creationId xmlns:a16="http://schemas.microsoft.com/office/drawing/2014/main" id="{0F6D6FDD-A76B-4A1C-9793-10D5CB4DC38C}"/>
                </a:ext>
              </a:extLst>
            </p:cNvPr>
            <p:cNvSpPr/>
            <p:nvPr/>
          </p:nvSpPr>
          <p:spPr>
            <a:xfrm>
              <a:off x="3839317" y="1988701"/>
              <a:ext cx="1696361" cy="363099"/>
            </a:xfrm>
            <a:prstGeom prst="rect">
              <a:avLst/>
            </a:prstGeom>
          </p:spPr>
          <p:txBody>
            <a:bodyPr vert="horz" lIns="91440" tIns="45720" rIns="91440" bIns="45720" rtlCol="0" anchor="ctr">
              <a:noAutofit/>
            </a:bodyPr>
            <a:lstStyle/>
            <a:p>
              <a:pPr>
                <a:spcBef>
                  <a:spcPct val="0"/>
                </a:spcBef>
              </a:pPr>
              <a:r>
                <a:rPr lang="en-US" sz="1600" b="1" noProof="1">
                  <a:solidFill>
                    <a:schemeClr val="tx1">
                      <a:lumMod val="85000"/>
                      <a:lumOff val="15000"/>
                    </a:schemeClr>
                  </a:solidFill>
                  <a:latin typeface="Barlow ExtraBold" panose="00000900000000000000" pitchFamily="2" charset="0"/>
                  <a:ea typeface="Open Sans" panose="020B0606030504020204" pitchFamily="34" charset="0"/>
                  <a:cs typeface="Open Sans" panose="020B0606030504020204" pitchFamily="34" charset="0"/>
                </a:rPr>
                <a:t>Lorem</a:t>
              </a:r>
              <a:r>
                <a:rPr lang="en-US" sz="1600" b="1" noProof="1">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 </a:t>
              </a:r>
              <a:r>
                <a:rPr lang="en-US" sz="1600" noProof="1">
                  <a:solidFill>
                    <a:schemeClr val="tx1">
                      <a:lumMod val="85000"/>
                      <a:lumOff val="15000"/>
                    </a:schemeClr>
                  </a:solidFill>
                  <a:latin typeface="Barlow" panose="00000500000000000000" pitchFamily="50" charset="0"/>
                  <a:ea typeface="Open Sans" panose="020B0606030504020204" pitchFamily="34" charset="0"/>
                  <a:cs typeface="Open Sans" panose="020B0606030504020204" pitchFamily="34" charset="0"/>
                </a:rPr>
                <a:t>Ipsum</a:t>
              </a:r>
            </a:p>
          </p:txBody>
        </p:sp>
        <p:sp>
          <p:nvSpPr>
            <p:cNvPr id="11" name="Rectangle 10">
              <a:extLst>
                <a:ext uri="{FF2B5EF4-FFF2-40B4-BE49-F238E27FC236}">
                  <a16:creationId xmlns:a16="http://schemas.microsoft.com/office/drawing/2014/main" id="{52B67592-D206-40FC-B059-90F5BB6CE668}"/>
                </a:ext>
              </a:extLst>
            </p:cNvPr>
            <p:cNvSpPr/>
            <p:nvPr/>
          </p:nvSpPr>
          <p:spPr>
            <a:xfrm>
              <a:off x="3839317" y="3791885"/>
              <a:ext cx="1796135" cy="600164"/>
            </a:xfrm>
            <a:prstGeom prst="rect">
              <a:avLst/>
            </a:prstGeom>
          </p:spPr>
          <p:txBody>
            <a:bodyPr wrap="square">
              <a:spAutoFit/>
            </a:bodyPr>
            <a:lstStyle/>
            <a:p>
              <a:pPr>
                <a:spcBef>
                  <a:spcPts val="600"/>
                </a:spcBef>
                <a:buClr>
                  <a:srgbClr val="E24848"/>
                </a:buClr>
                <a:defRPr/>
              </a:pPr>
              <a:r>
                <a:rPr lang="en-US" sz="1100" noProof="1">
                  <a:solidFill>
                    <a:schemeClr val="tx1">
                      <a:lumMod val="50000"/>
                      <a:lumOff val="50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2" name="Rectangle 11">
              <a:extLst>
                <a:ext uri="{FF2B5EF4-FFF2-40B4-BE49-F238E27FC236}">
                  <a16:creationId xmlns:a16="http://schemas.microsoft.com/office/drawing/2014/main" id="{A0021258-E048-47B3-A8F6-063CE8968E91}"/>
                </a:ext>
              </a:extLst>
            </p:cNvPr>
            <p:cNvSpPr/>
            <p:nvPr/>
          </p:nvSpPr>
          <p:spPr>
            <a:xfrm>
              <a:off x="3839317" y="3427586"/>
              <a:ext cx="1696361" cy="363099"/>
            </a:xfrm>
            <a:prstGeom prst="rect">
              <a:avLst/>
            </a:prstGeom>
          </p:spPr>
          <p:txBody>
            <a:bodyPr vert="horz" lIns="91440" tIns="45720" rIns="91440" bIns="45720" rtlCol="0" anchor="ctr">
              <a:noAutofit/>
            </a:bodyPr>
            <a:lstStyle/>
            <a:p>
              <a:pPr>
                <a:spcBef>
                  <a:spcPct val="0"/>
                </a:spcBef>
              </a:pPr>
              <a:r>
                <a:rPr lang="en-US" sz="1600" b="1" noProof="1">
                  <a:solidFill>
                    <a:schemeClr val="tx1">
                      <a:lumMod val="85000"/>
                      <a:lumOff val="15000"/>
                    </a:schemeClr>
                  </a:solidFill>
                  <a:latin typeface="Barlow ExtraBold" panose="00000900000000000000" pitchFamily="2" charset="0"/>
                  <a:ea typeface="Open Sans" panose="020B0606030504020204" pitchFamily="34" charset="0"/>
                  <a:cs typeface="Open Sans" panose="020B0606030504020204" pitchFamily="34" charset="0"/>
                </a:rPr>
                <a:t>Lorem</a:t>
              </a:r>
              <a:r>
                <a:rPr lang="en-US" sz="1600" b="1" noProof="1">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 </a:t>
              </a:r>
              <a:r>
                <a:rPr lang="en-US" sz="1600" noProof="1">
                  <a:solidFill>
                    <a:schemeClr val="tx1">
                      <a:lumMod val="85000"/>
                      <a:lumOff val="15000"/>
                    </a:schemeClr>
                  </a:solidFill>
                  <a:latin typeface="Barlow" panose="00000500000000000000" pitchFamily="50" charset="0"/>
                  <a:ea typeface="Open Sans" panose="020B0606030504020204" pitchFamily="34" charset="0"/>
                  <a:cs typeface="Open Sans" panose="020B0606030504020204" pitchFamily="34" charset="0"/>
                </a:rPr>
                <a:t>Ipsum</a:t>
              </a:r>
            </a:p>
          </p:txBody>
        </p:sp>
        <p:sp>
          <p:nvSpPr>
            <p:cNvPr id="13" name="Rectangle 12">
              <a:extLst>
                <a:ext uri="{FF2B5EF4-FFF2-40B4-BE49-F238E27FC236}">
                  <a16:creationId xmlns:a16="http://schemas.microsoft.com/office/drawing/2014/main" id="{FBEF4932-4AED-4B93-854A-76F938BE131E}"/>
                </a:ext>
              </a:extLst>
            </p:cNvPr>
            <p:cNvSpPr/>
            <p:nvPr/>
          </p:nvSpPr>
          <p:spPr>
            <a:xfrm>
              <a:off x="3839317" y="5179980"/>
              <a:ext cx="1796135" cy="600164"/>
            </a:xfrm>
            <a:prstGeom prst="rect">
              <a:avLst/>
            </a:prstGeom>
          </p:spPr>
          <p:txBody>
            <a:bodyPr wrap="square">
              <a:spAutoFit/>
            </a:bodyPr>
            <a:lstStyle/>
            <a:p>
              <a:pPr>
                <a:spcBef>
                  <a:spcPts val="600"/>
                </a:spcBef>
                <a:buClr>
                  <a:srgbClr val="E24848"/>
                </a:buClr>
                <a:defRPr/>
              </a:pPr>
              <a:r>
                <a:rPr lang="en-US" sz="1100" noProof="1">
                  <a:solidFill>
                    <a:schemeClr val="tx1">
                      <a:lumMod val="50000"/>
                      <a:lumOff val="50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a:t>
              </a:r>
            </a:p>
          </p:txBody>
        </p:sp>
        <p:sp>
          <p:nvSpPr>
            <p:cNvPr id="14" name="Rectangle 13">
              <a:extLst>
                <a:ext uri="{FF2B5EF4-FFF2-40B4-BE49-F238E27FC236}">
                  <a16:creationId xmlns:a16="http://schemas.microsoft.com/office/drawing/2014/main" id="{5A92CE34-5544-41D8-A4A9-46157D66C4BB}"/>
                </a:ext>
              </a:extLst>
            </p:cNvPr>
            <p:cNvSpPr/>
            <p:nvPr/>
          </p:nvSpPr>
          <p:spPr>
            <a:xfrm>
              <a:off x="3839317" y="4815681"/>
              <a:ext cx="1696361" cy="363099"/>
            </a:xfrm>
            <a:prstGeom prst="rect">
              <a:avLst/>
            </a:prstGeom>
          </p:spPr>
          <p:txBody>
            <a:bodyPr vert="horz" lIns="91440" tIns="45720" rIns="91440" bIns="45720" rtlCol="0" anchor="ctr">
              <a:noAutofit/>
            </a:bodyPr>
            <a:lstStyle/>
            <a:p>
              <a:pPr>
                <a:spcBef>
                  <a:spcPct val="0"/>
                </a:spcBef>
              </a:pPr>
              <a:r>
                <a:rPr lang="en-US" sz="1600" b="1" noProof="1">
                  <a:solidFill>
                    <a:schemeClr val="tx1">
                      <a:lumMod val="85000"/>
                      <a:lumOff val="15000"/>
                    </a:schemeClr>
                  </a:solidFill>
                  <a:latin typeface="Barlow ExtraBold" panose="00000900000000000000" pitchFamily="2" charset="0"/>
                  <a:ea typeface="Open Sans" panose="020B0606030504020204" pitchFamily="34" charset="0"/>
                  <a:cs typeface="Open Sans" panose="020B0606030504020204" pitchFamily="34" charset="0"/>
                </a:rPr>
                <a:t>Lorem</a:t>
              </a:r>
              <a:r>
                <a:rPr lang="en-US" sz="1600" b="1" noProof="1">
                  <a:solidFill>
                    <a:schemeClr val="tx1">
                      <a:lumMod val="85000"/>
                      <a:lumOff val="15000"/>
                    </a:schemeClr>
                  </a:solidFill>
                  <a:latin typeface="Montserrat" panose="00000500000000000000" pitchFamily="2" charset="0"/>
                  <a:ea typeface="Open Sans" panose="020B0606030504020204" pitchFamily="34" charset="0"/>
                  <a:cs typeface="Open Sans" panose="020B0606030504020204" pitchFamily="34" charset="0"/>
                </a:rPr>
                <a:t> </a:t>
              </a:r>
              <a:r>
                <a:rPr lang="en-US" sz="1600" noProof="1">
                  <a:solidFill>
                    <a:schemeClr val="tx1">
                      <a:lumMod val="85000"/>
                      <a:lumOff val="15000"/>
                    </a:schemeClr>
                  </a:solidFill>
                  <a:latin typeface="Barlow" panose="00000500000000000000" pitchFamily="50" charset="0"/>
                  <a:ea typeface="Open Sans" panose="020B0606030504020204" pitchFamily="34" charset="0"/>
                  <a:cs typeface="Open Sans" panose="020B0606030504020204" pitchFamily="34" charset="0"/>
                </a:rPr>
                <a:t>Ipsum</a:t>
              </a:r>
            </a:p>
          </p:txBody>
        </p:sp>
        <p:sp>
          <p:nvSpPr>
            <p:cNvPr id="15" name="Oval 14">
              <a:extLst>
                <a:ext uri="{FF2B5EF4-FFF2-40B4-BE49-F238E27FC236}">
                  <a16:creationId xmlns:a16="http://schemas.microsoft.com/office/drawing/2014/main" id="{8B63FC9C-E571-48F5-A09B-DED657C11E25}"/>
                </a:ext>
              </a:extLst>
            </p:cNvPr>
            <p:cNvSpPr/>
            <p:nvPr/>
          </p:nvSpPr>
          <p:spPr>
            <a:xfrm>
              <a:off x="2573099" y="2052291"/>
              <a:ext cx="763339" cy="76333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16" name="Oval 15">
              <a:extLst>
                <a:ext uri="{FF2B5EF4-FFF2-40B4-BE49-F238E27FC236}">
                  <a16:creationId xmlns:a16="http://schemas.microsoft.com/office/drawing/2014/main" id="{22439648-B486-4CFF-8B9D-510FBFCB9C45}"/>
                </a:ext>
              </a:extLst>
            </p:cNvPr>
            <p:cNvSpPr/>
            <p:nvPr/>
          </p:nvSpPr>
          <p:spPr>
            <a:xfrm>
              <a:off x="2675527" y="3467944"/>
              <a:ext cx="763339" cy="76333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17" name="Oval 16">
              <a:extLst>
                <a:ext uri="{FF2B5EF4-FFF2-40B4-BE49-F238E27FC236}">
                  <a16:creationId xmlns:a16="http://schemas.microsoft.com/office/drawing/2014/main" id="{13B2CFD5-EF21-49AA-A97F-5077AE3FEBB9}"/>
                </a:ext>
              </a:extLst>
            </p:cNvPr>
            <p:cNvSpPr/>
            <p:nvPr/>
          </p:nvSpPr>
          <p:spPr>
            <a:xfrm>
              <a:off x="2361884" y="4815681"/>
              <a:ext cx="763339" cy="76333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grpSp>
          <p:nvGrpSpPr>
            <p:cNvPr id="18" name="Group 17">
              <a:extLst>
                <a:ext uri="{FF2B5EF4-FFF2-40B4-BE49-F238E27FC236}">
                  <a16:creationId xmlns:a16="http://schemas.microsoft.com/office/drawing/2014/main" id="{29B26A20-BC63-43DA-AA6F-295331244E79}"/>
                </a:ext>
              </a:extLst>
            </p:cNvPr>
            <p:cNvGrpSpPr/>
            <p:nvPr/>
          </p:nvGrpSpPr>
          <p:grpSpPr>
            <a:xfrm>
              <a:off x="2893708" y="2317791"/>
              <a:ext cx="194630" cy="232333"/>
              <a:chOff x="1133476" y="4130676"/>
              <a:chExt cx="303213" cy="361950"/>
            </a:xfrm>
            <a:solidFill>
              <a:schemeClr val="tx1">
                <a:lumMod val="85000"/>
                <a:lumOff val="15000"/>
              </a:schemeClr>
            </a:solidFill>
          </p:grpSpPr>
          <p:sp>
            <p:nvSpPr>
              <p:cNvPr id="19" name="Freeform 16">
                <a:extLst>
                  <a:ext uri="{FF2B5EF4-FFF2-40B4-BE49-F238E27FC236}">
                    <a16:creationId xmlns:a16="http://schemas.microsoft.com/office/drawing/2014/main" id="{9D33A25E-92C6-4619-9465-FDC1044F2832}"/>
                  </a:ext>
                </a:extLst>
              </p:cNvPr>
              <p:cNvSpPr>
                <a:spLocks/>
              </p:cNvSpPr>
              <p:nvPr/>
            </p:nvSpPr>
            <p:spPr bwMode="auto">
              <a:xfrm>
                <a:off x="1222376" y="4130676"/>
                <a:ext cx="114300" cy="11113"/>
              </a:xfrm>
              <a:custGeom>
                <a:avLst/>
                <a:gdLst>
                  <a:gd name="T0" fmla="*/ 68 w 72"/>
                  <a:gd name="T1" fmla="*/ 7 h 7"/>
                  <a:gd name="T2" fmla="*/ 68 w 72"/>
                  <a:gd name="T3" fmla="*/ 7 h 7"/>
                  <a:gd name="T4" fmla="*/ 70 w 72"/>
                  <a:gd name="T5" fmla="*/ 6 h 7"/>
                  <a:gd name="T6" fmla="*/ 72 w 72"/>
                  <a:gd name="T7" fmla="*/ 4 h 7"/>
                  <a:gd name="T8" fmla="*/ 72 w 72"/>
                  <a:gd name="T9" fmla="*/ 4 h 7"/>
                  <a:gd name="T10" fmla="*/ 70 w 72"/>
                  <a:gd name="T11" fmla="*/ 1 h 7"/>
                  <a:gd name="T12" fmla="*/ 68 w 72"/>
                  <a:gd name="T13" fmla="*/ 0 h 7"/>
                  <a:gd name="T14" fmla="*/ 4 w 72"/>
                  <a:gd name="T15" fmla="*/ 0 h 7"/>
                  <a:gd name="T16" fmla="*/ 4 w 72"/>
                  <a:gd name="T17" fmla="*/ 0 h 7"/>
                  <a:gd name="T18" fmla="*/ 1 w 72"/>
                  <a:gd name="T19" fmla="*/ 1 h 7"/>
                  <a:gd name="T20" fmla="*/ 0 w 72"/>
                  <a:gd name="T21" fmla="*/ 4 h 7"/>
                  <a:gd name="T22" fmla="*/ 0 w 72"/>
                  <a:gd name="T23" fmla="*/ 4 h 7"/>
                  <a:gd name="T24" fmla="*/ 1 w 72"/>
                  <a:gd name="T25" fmla="*/ 6 h 7"/>
                  <a:gd name="T26" fmla="*/ 4 w 72"/>
                  <a:gd name="T27" fmla="*/ 7 h 7"/>
                  <a:gd name="T28" fmla="*/ 68 w 72"/>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7">
                    <a:moveTo>
                      <a:pt x="68" y="7"/>
                    </a:moveTo>
                    <a:lnTo>
                      <a:pt x="68" y="7"/>
                    </a:lnTo>
                    <a:lnTo>
                      <a:pt x="70" y="6"/>
                    </a:lnTo>
                    <a:lnTo>
                      <a:pt x="72" y="4"/>
                    </a:lnTo>
                    <a:lnTo>
                      <a:pt x="72" y="4"/>
                    </a:lnTo>
                    <a:lnTo>
                      <a:pt x="70" y="1"/>
                    </a:lnTo>
                    <a:lnTo>
                      <a:pt x="68" y="0"/>
                    </a:lnTo>
                    <a:lnTo>
                      <a:pt x="4" y="0"/>
                    </a:lnTo>
                    <a:lnTo>
                      <a:pt x="4" y="0"/>
                    </a:lnTo>
                    <a:lnTo>
                      <a:pt x="1" y="1"/>
                    </a:lnTo>
                    <a:lnTo>
                      <a:pt x="0" y="4"/>
                    </a:lnTo>
                    <a:lnTo>
                      <a:pt x="0" y="4"/>
                    </a:lnTo>
                    <a:lnTo>
                      <a:pt x="1" y="6"/>
                    </a:lnTo>
                    <a:lnTo>
                      <a:pt x="4" y="7"/>
                    </a:lnTo>
                    <a:lnTo>
                      <a:pt x="6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0" name="Freeform 17">
                <a:extLst>
                  <a:ext uri="{FF2B5EF4-FFF2-40B4-BE49-F238E27FC236}">
                    <a16:creationId xmlns:a16="http://schemas.microsoft.com/office/drawing/2014/main" id="{87648A64-4CD9-4CAB-BC6C-93E2D99A5543}"/>
                  </a:ext>
                </a:extLst>
              </p:cNvPr>
              <p:cNvSpPr>
                <a:spLocks noEditPoints="1"/>
              </p:cNvSpPr>
              <p:nvPr/>
            </p:nvSpPr>
            <p:spPr bwMode="auto">
              <a:xfrm>
                <a:off x="1133476" y="4152901"/>
                <a:ext cx="303213" cy="339725"/>
              </a:xfrm>
              <a:custGeom>
                <a:avLst/>
                <a:gdLst>
                  <a:gd name="T0" fmla="*/ 6 w 191"/>
                  <a:gd name="T1" fmla="*/ 184 h 214"/>
                  <a:gd name="T2" fmla="*/ 0 w 191"/>
                  <a:gd name="T3" fmla="*/ 197 h 214"/>
                  <a:gd name="T4" fmla="*/ 1 w 191"/>
                  <a:gd name="T5" fmla="*/ 205 h 214"/>
                  <a:gd name="T6" fmla="*/ 4 w 191"/>
                  <a:gd name="T7" fmla="*/ 208 h 214"/>
                  <a:gd name="T8" fmla="*/ 14 w 191"/>
                  <a:gd name="T9" fmla="*/ 214 h 214"/>
                  <a:gd name="T10" fmla="*/ 167 w 191"/>
                  <a:gd name="T11" fmla="*/ 214 h 214"/>
                  <a:gd name="T12" fmla="*/ 177 w 191"/>
                  <a:gd name="T13" fmla="*/ 214 h 214"/>
                  <a:gd name="T14" fmla="*/ 187 w 191"/>
                  <a:gd name="T15" fmla="*/ 208 h 214"/>
                  <a:gd name="T16" fmla="*/ 190 w 191"/>
                  <a:gd name="T17" fmla="*/ 205 h 214"/>
                  <a:gd name="T18" fmla="*/ 191 w 191"/>
                  <a:gd name="T19" fmla="*/ 197 h 214"/>
                  <a:gd name="T20" fmla="*/ 185 w 191"/>
                  <a:gd name="T21" fmla="*/ 184 h 214"/>
                  <a:gd name="T22" fmla="*/ 139 w 191"/>
                  <a:gd name="T23" fmla="*/ 111 h 214"/>
                  <a:gd name="T24" fmla="*/ 136 w 191"/>
                  <a:gd name="T25" fmla="*/ 104 h 214"/>
                  <a:gd name="T26" fmla="*/ 125 w 191"/>
                  <a:gd name="T27" fmla="*/ 82 h 214"/>
                  <a:gd name="T28" fmla="*/ 121 w 191"/>
                  <a:gd name="T29" fmla="*/ 65 h 214"/>
                  <a:gd name="T30" fmla="*/ 121 w 191"/>
                  <a:gd name="T31" fmla="*/ 4 h 214"/>
                  <a:gd name="T32" fmla="*/ 119 w 191"/>
                  <a:gd name="T33" fmla="*/ 1 h 214"/>
                  <a:gd name="T34" fmla="*/ 67 w 191"/>
                  <a:gd name="T35" fmla="*/ 0 h 214"/>
                  <a:gd name="T36" fmla="*/ 64 w 191"/>
                  <a:gd name="T37" fmla="*/ 1 h 214"/>
                  <a:gd name="T38" fmla="*/ 63 w 191"/>
                  <a:gd name="T39" fmla="*/ 55 h 214"/>
                  <a:gd name="T40" fmla="*/ 62 w 191"/>
                  <a:gd name="T41" fmla="*/ 66 h 214"/>
                  <a:gd name="T42" fmla="*/ 54 w 191"/>
                  <a:gd name="T43" fmla="*/ 94 h 214"/>
                  <a:gd name="T44" fmla="*/ 46 w 191"/>
                  <a:gd name="T45" fmla="*/ 113 h 214"/>
                  <a:gd name="T46" fmla="*/ 184 w 191"/>
                  <a:gd name="T47" fmla="*/ 202 h 214"/>
                  <a:gd name="T48" fmla="*/ 181 w 191"/>
                  <a:gd name="T49" fmla="*/ 205 h 214"/>
                  <a:gd name="T50" fmla="*/ 173 w 191"/>
                  <a:gd name="T51" fmla="*/ 207 h 214"/>
                  <a:gd name="T52" fmla="*/ 24 w 191"/>
                  <a:gd name="T53" fmla="*/ 207 h 214"/>
                  <a:gd name="T54" fmla="*/ 18 w 191"/>
                  <a:gd name="T55" fmla="*/ 207 h 214"/>
                  <a:gd name="T56" fmla="*/ 10 w 191"/>
                  <a:gd name="T57" fmla="*/ 205 h 214"/>
                  <a:gd name="T58" fmla="*/ 7 w 191"/>
                  <a:gd name="T59" fmla="*/ 202 h 214"/>
                  <a:gd name="T60" fmla="*/ 7 w 191"/>
                  <a:gd name="T61" fmla="*/ 195 h 214"/>
                  <a:gd name="T62" fmla="*/ 12 w 191"/>
                  <a:gd name="T63" fmla="*/ 187 h 214"/>
                  <a:gd name="T64" fmla="*/ 48 w 191"/>
                  <a:gd name="T65" fmla="*/ 123 h 214"/>
                  <a:gd name="T66" fmla="*/ 53 w 191"/>
                  <a:gd name="T67" fmla="*/ 127 h 214"/>
                  <a:gd name="T68" fmla="*/ 66 w 191"/>
                  <a:gd name="T69" fmla="*/ 130 h 214"/>
                  <a:gd name="T70" fmla="*/ 75 w 191"/>
                  <a:gd name="T71" fmla="*/ 131 h 214"/>
                  <a:gd name="T72" fmla="*/ 90 w 191"/>
                  <a:gd name="T73" fmla="*/ 129 h 214"/>
                  <a:gd name="T74" fmla="*/ 101 w 191"/>
                  <a:gd name="T75" fmla="*/ 123 h 214"/>
                  <a:gd name="T76" fmla="*/ 110 w 191"/>
                  <a:gd name="T77" fmla="*/ 118 h 214"/>
                  <a:gd name="T78" fmla="*/ 124 w 191"/>
                  <a:gd name="T79" fmla="*/ 117 h 214"/>
                  <a:gd name="T80" fmla="*/ 130 w 191"/>
                  <a:gd name="T81" fmla="*/ 117 h 214"/>
                  <a:gd name="T82" fmla="*/ 179 w 191"/>
                  <a:gd name="T83" fmla="*/ 187 h 214"/>
                  <a:gd name="T84" fmla="*/ 181 w 191"/>
                  <a:gd name="T85" fmla="*/ 192 h 214"/>
                  <a:gd name="T86" fmla="*/ 184 w 191"/>
                  <a:gd name="T87" fmla="*/ 199 h 214"/>
                  <a:gd name="T88" fmla="*/ 184 w 191"/>
                  <a:gd name="T89" fmla="*/ 202 h 214"/>
                  <a:gd name="T90" fmla="*/ 70 w 191"/>
                  <a:gd name="T91" fmla="*/ 7 h 214"/>
                  <a:gd name="T92" fmla="*/ 114 w 191"/>
                  <a:gd name="T93" fmla="*/ 55 h 214"/>
                  <a:gd name="T94" fmla="*/ 114 w 191"/>
                  <a:gd name="T95" fmla="*/ 63 h 214"/>
                  <a:gd name="T96" fmla="*/ 119 w 191"/>
                  <a:gd name="T97" fmla="*/ 87 h 214"/>
                  <a:gd name="T98" fmla="*/ 130 w 191"/>
                  <a:gd name="T99" fmla="*/ 110 h 214"/>
                  <a:gd name="T100" fmla="*/ 124 w 191"/>
                  <a:gd name="T101" fmla="*/ 110 h 214"/>
                  <a:gd name="T102" fmla="*/ 115 w 191"/>
                  <a:gd name="T103" fmla="*/ 110 h 214"/>
                  <a:gd name="T104" fmla="*/ 102 w 191"/>
                  <a:gd name="T105" fmla="*/ 115 h 214"/>
                  <a:gd name="T106" fmla="*/ 97 w 191"/>
                  <a:gd name="T107" fmla="*/ 117 h 214"/>
                  <a:gd name="T108" fmla="*/ 82 w 191"/>
                  <a:gd name="T109" fmla="*/ 123 h 214"/>
                  <a:gd name="T110" fmla="*/ 75 w 191"/>
                  <a:gd name="T111" fmla="*/ 124 h 214"/>
                  <a:gd name="T112" fmla="*/ 61 w 191"/>
                  <a:gd name="T113" fmla="*/ 122 h 214"/>
                  <a:gd name="T114" fmla="*/ 52 w 191"/>
                  <a:gd name="T115" fmla="*/ 117 h 214"/>
                  <a:gd name="T116" fmla="*/ 52 w 191"/>
                  <a:gd name="T117" fmla="*/ 117 h 214"/>
                  <a:gd name="T118" fmla="*/ 61 w 191"/>
                  <a:gd name="T119" fmla="*/ 96 h 214"/>
                  <a:gd name="T120" fmla="*/ 68 w 191"/>
                  <a:gd name="T121" fmla="*/ 76 h 214"/>
                  <a:gd name="T122" fmla="*/ 70 w 191"/>
                  <a:gd name="T123" fmla="*/ 5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214">
                    <a:moveTo>
                      <a:pt x="6" y="184"/>
                    </a:moveTo>
                    <a:lnTo>
                      <a:pt x="6" y="184"/>
                    </a:lnTo>
                    <a:lnTo>
                      <a:pt x="1" y="191"/>
                    </a:lnTo>
                    <a:lnTo>
                      <a:pt x="0" y="197"/>
                    </a:lnTo>
                    <a:lnTo>
                      <a:pt x="0" y="201"/>
                    </a:lnTo>
                    <a:lnTo>
                      <a:pt x="1" y="205"/>
                    </a:lnTo>
                    <a:lnTo>
                      <a:pt x="1" y="205"/>
                    </a:lnTo>
                    <a:lnTo>
                      <a:pt x="4" y="208"/>
                    </a:lnTo>
                    <a:lnTo>
                      <a:pt x="8" y="212"/>
                    </a:lnTo>
                    <a:lnTo>
                      <a:pt x="14" y="214"/>
                    </a:lnTo>
                    <a:lnTo>
                      <a:pt x="24" y="214"/>
                    </a:lnTo>
                    <a:lnTo>
                      <a:pt x="167" y="214"/>
                    </a:lnTo>
                    <a:lnTo>
                      <a:pt x="167" y="214"/>
                    </a:lnTo>
                    <a:lnTo>
                      <a:pt x="177" y="214"/>
                    </a:lnTo>
                    <a:lnTo>
                      <a:pt x="183" y="212"/>
                    </a:lnTo>
                    <a:lnTo>
                      <a:pt x="187" y="208"/>
                    </a:lnTo>
                    <a:lnTo>
                      <a:pt x="190" y="205"/>
                    </a:lnTo>
                    <a:lnTo>
                      <a:pt x="190" y="205"/>
                    </a:lnTo>
                    <a:lnTo>
                      <a:pt x="191" y="201"/>
                    </a:lnTo>
                    <a:lnTo>
                      <a:pt x="191" y="197"/>
                    </a:lnTo>
                    <a:lnTo>
                      <a:pt x="190" y="191"/>
                    </a:lnTo>
                    <a:lnTo>
                      <a:pt x="185" y="184"/>
                    </a:lnTo>
                    <a:lnTo>
                      <a:pt x="140" y="113"/>
                    </a:lnTo>
                    <a:lnTo>
                      <a:pt x="139" y="111"/>
                    </a:lnTo>
                    <a:lnTo>
                      <a:pt x="139" y="111"/>
                    </a:lnTo>
                    <a:lnTo>
                      <a:pt x="136" y="104"/>
                    </a:lnTo>
                    <a:lnTo>
                      <a:pt x="129" y="90"/>
                    </a:lnTo>
                    <a:lnTo>
                      <a:pt x="125" y="82"/>
                    </a:lnTo>
                    <a:lnTo>
                      <a:pt x="123" y="74"/>
                    </a:lnTo>
                    <a:lnTo>
                      <a:pt x="121" y="65"/>
                    </a:lnTo>
                    <a:lnTo>
                      <a:pt x="121" y="55"/>
                    </a:lnTo>
                    <a:lnTo>
                      <a:pt x="121" y="4"/>
                    </a:lnTo>
                    <a:lnTo>
                      <a:pt x="121" y="4"/>
                    </a:lnTo>
                    <a:lnTo>
                      <a:pt x="119" y="1"/>
                    </a:lnTo>
                    <a:lnTo>
                      <a:pt x="117" y="0"/>
                    </a:lnTo>
                    <a:lnTo>
                      <a:pt x="67" y="0"/>
                    </a:lnTo>
                    <a:lnTo>
                      <a:pt x="67" y="0"/>
                    </a:lnTo>
                    <a:lnTo>
                      <a:pt x="64" y="1"/>
                    </a:lnTo>
                    <a:lnTo>
                      <a:pt x="63" y="4"/>
                    </a:lnTo>
                    <a:lnTo>
                      <a:pt x="63" y="55"/>
                    </a:lnTo>
                    <a:lnTo>
                      <a:pt x="63" y="55"/>
                    </a:lnTo>
                    <a:lnTo>
                      <a:pt x="62" y="66"/>
                    </a:lnTo>
                    <a:lnTo>
                      <a:pt x="61" y="75"/>
                    </a:lnTo>
                    <a:lnTo>
                      <a:pt x="54" y="94"/>
                    </a:lnTo>
                    <a:lnTo>
                      <a:pt x="48" y="108"/>
                    </a:lnTo>
                    <a:lnTo>
                      <a:pt x="46" y="113"/>
                    </a:lnTo>
                    <a:lnTo>
                      <a:pt x="6" y="184"/>
                    </a:lnTo>
                    <a:close/>
                    <a:moveTo>
                      <a:pt x="184" y="202"/>
                    </a:moveTo>
                    <a:lnTo>
                      <a:pt x="184" y="202"/>
                    </a:lnTo>
                    <a:lnTo>
                      <a:pt x="181" y="205"/>
                    </a:lnTo>
                    <a:lnTo>
                      <a:pt x="178" y="206"/>
                    </a:lnTo>
                    <a:lnTo>
                      <a:pt x="173" y="207"/>
                    </a:lnTo>
                    <a:lnTo>
                      <a:pt x="167" y="207"/>
                    </a:lnTo>
                    <a:lnTo>
                      <a:pt x="24" y="207"/>
                    </a:lnTo>
                    <a:lnTo>
                      <a:pt x="24" y="207"/>
                    </a:lnTo>
                    <a:lnTo>
                      <a:pt x="18" y="207"/>
                    </a:lnTo>
                    <a:lnTo>
                      <a:pt x="13" y="206"/>
                    </a:lnTo>
                    <a:lnTo>
                      <a:pt x="10" y="205"/>
                    </a:lnTo>
                    <a:lnTo>
                      <a:pt x="7" y="202"/>
                    </a:lnTo>
                    <a:lnTo>
                      <a:pt x="7" y="202"/>
                    </a:lnTo>
                    <a:lnTo>
                      <a:pt x="7" y="199"/>
                    </a:lnTo>
                    <a:lnTo>
                      <a:pt x="7" y="195"/>
                    </a:lnTo>
                    <a:lnTo>
                      <a:pt x="10" y="192"/>
                    </a:lnTo>
                    <a:lnTo>
                      <a:pt x="12" y="187"/>
                    </a:lnTo>
                    <a:lnTo>
                      <a:pt x="48" y="123"/>
                    </a:lnTo>
                    <a:lnTo>
                      <a:pt x="48" y="123"/>
                    </a:lnTo>
                    <a:lnTo>
                      <a:pt x="48" y="123"/>
                    </a:lnTo>
                    <a:lnTo>
                      <a:pt x="53" y="127"/>
                    </a:lnTo>
                    <a:lnTo>
                      <a:pt x="59" y="129"/>
                    </a:lnTo>
                    <a:lnTo>
                      <a:pt x="66" y="130"/>
                    </a:lnTo>
                    <a:lnTo>
                      <a:pt x="75" y="131"/>
                    </a:lnTo>
                    <a:lnTo>
                      <a:pt x="75" y="131"/>
                    </a:lnTo>
                    <a:lnTo>
                      <a:pt x="83" y="130"/>
                    </a:lnTo>
                    <a:lnTo>
                      <a:pt x="90" y="129"/>
                    </a:lnTo>
                    <a:lnTo>
                      <a:pt x="96" y="127"/>
                    </a:lnTo>
                    <a:lnTo>
                      <a:pt x="101" y="123"/>
                    </a:lnTo>
                    <a:lnTo>
                      <a:pt x="101" y="123"/>
                    </a:lnTo>
                    <a:lnTo>
                      <a:pt x="110" y="118"/>
                    </a:lnTo>
                    <a:lnTo>
                      <a:pt x="116" y="117"/>
                    </a:lnTo>
                    <a:lnTo>
                      <a:pt x="124" y="117"/>
                    </a:lnTo>
                    <a:lnTo>
                      <a:pt x="124" y="117"/>
                    </a:lnTo>
                    <a:lnTo>
                      <a:pt x="130" y="117"/>
                    </a:lnTo>
                    <a:lnTo>
                      <a:pt x="136" y="118"/>
                    </a:lnTo>
                    <a:lnTo>
                      <a:pt x="179" y="187"/>
                    </a:lnTo>
                    <a:lnTo>
                      <a:pt x="179" y="187"/>
                    </a:lnTo>
                    <a:lnTo>
                      <a:pt x="181" y="192"/>
                    </a:lnTo>
                    <a:lnTo>
                      <a:pt x="184" y="195"/>
                    </a:lnTo>
                    <a:lnTo>
                      <a:pt x="184" y="199"/>
                    </a:lnTo>
                    <a:lnTo>
                      <a:pt x="184" y="202"/>
                    </a:lnTo>
                    <a:lnTo>
                      <a:pt x="184" y="202"/>
                    </a:lnTo>
                    <a:close/>
                    <a:moveTo>
                      <a:pt x="70" y="55"/>
                    </a:moveTo>
                    <a:lnTo>
                      <a:pt x="70" y="7"/>
                    </a:lnTo>
                    <a:lnTo>
                      <a:pt x="114" y="7"/>
                    </a:lnTo>
                    <a:lnTo>
                      <a:pt x="114" y="55"/>
                    </a:lnTo>
                    <a:lnTo>
                      <a:pt x="114" y="55"/>
                    </a:lnTo>
                    <a:lnTo>
                      <a:pt x="114" y="63"/>
                    </a:lnTo>
                    <a:lnTo>
                      <a:pt x="115" y="72"/>
                    </a:lnTo>
                    <a:lnTo>
                      <a:pt x="119" y="87"/>
                    </a:lnTo>
                    <a:lnTo>
                      <a:pt x="125" y="100"/>
                    </a:lnTo>
                    <a:lnTo>
                      <a:pt x="130" y="110"/>
                    </a:lnTo>
                    <a:lnTo>
                      <a:pt x="130" y="110"/>
                    </a:lnTo>
                    <a:lnTo>
                      <a:pt x="124" y="110"/>
                    </a:lnTo>
                    <a:lnTo>
                      <a:pt x="124" y="110"/>
                    </a:lnTo>
                    <a:lnTo>
                      <a:pt x="115" y="110"/>
                    </a:lnTo>
                    <a:lnTo>
                      <a:pt x="108" y="113"/>
                    </a:lnTo>
                    <a:lnTo>
                      <a:pt x="102" y="115"/>
                    </a:lnTo>
                    <a:lnTo>
                      <a:pt x="97" y="117"/>
                    </a:lnTo>
                    <a:lnTo>
                      <a:pt x="97" y="117"/>
                    </a:lnTo>
                    <a:lnTo>
                      <a:pt x="88" y="122"/>
                    </a:lnTo>
                    <a:lnTo>
                      <a:pt x="82" y="123"/>
                    </a:lnTo>
                    <a:lnTo>
                      <a:pt x="75" y="124"/>
                    </a:lnTo>
                    <a:lnTo>
                      <a:pt x="75" y="124"/>
                    </a:lnTo>
                    <a:lnTo>
                      <a:pt x="67" y="123"/>
                    </a:lnTo>
                    <a:lnTo>
                      <a:pt x="61" y="122"/>
                    </a:lnTo>
                    <a:lnTo>
                      <a:pt x="52" y="117"/>
                    </a:lnTo>
                    <a:lnTo>
                      <a:pt x="52" y="117"/>
                    </a:lnTo>
                    <a:lnTo>
                      <a:pt x="52" y="117"/>
                    </a:lnTo>
                    <a:lnTo>
                      <a:pt x="52" y="117"/>
                    </a:lnTo>
                    <a:lnTo>
                      <a:pt x="55" y="111"/>
                    </a:lnTo>
                    <a:lnTo>
                      <a:pt x="61" y="96"/>
                    </a:lnTo>
                    <a:lnTo>
                      <a:pt x="64" y="87"/>
                    </a:lnTo>
                    <a:lnTo>
                      <a:pt x="68" y="76"/>
                    </a:lnTo>
                    <a:lnTo>
                      <a:pt x="69" y="66"/>
                    </a:lnTo>
                    <a:lnTo>
                      <a:pt x="70" y="55"/>
                    </a:lnTo>
                    <a:lnTo>
                      <a:pt x="7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grpSp>
          <p:nvGrpSpPr>
            <p:cNvPr id="21" name="Group 20">
              <a:extLst>
                <a:ext uri="{FF2B5EF4-FFF2-40B4-BE49-F238E27FC236}">
                  <a16:creationId xmlns:a16="http://schemas.microsoft.com/office/drawing/2014/main" id="{5D8DB214-9DC0-47F5-BE6E-E3A4071161BB}"/>
                </a:ext>
              </a:extLst>
            </p:cNvPr>
            <p:cNvGrpSpPr/>
            <p:nvPr/>
          </p:nvGrpSpPr>
          <p:grpSpPr>
            <a:xfrm>
              <a:off x="2907630" y="3707156"/>
              <a:ext cx="299132" cy="300445"/>
              <a:chOff x="1835151" y="5308601"/>
              <a:chExt cx="361950" cy="363538"/>
            </a:xfrm>
            <a:solidFill>
              <a:schemeClr val="tx1">
                <a:lumMod val="85000"/>
                <a:lumOff val="15000"/>
              </a:schemeClr>
            </a:solidFill>
          </p:grpSpPr>
          <p:sp>
            <p:nvSpPr>
              <p:cNvPr id="22" name="Freeform 84">
                <a:extLst>
                  <a:ext uri="{FF2B5EF4-FFF2-40B4-BE49-F238E27FC236}">
                    <a16:creationId xmlns:a16="http://schemas.microsoft.com/office/drawing/2014/main" id="{652C1934-0823-4F9B-9031-DBB83DF56B6F}"/>
                  </a:ext>
                </a:extLst>
              </p:cNvPr>
              <p:cNvSpPr>
                <a:spLocks noEditPoints="1"/>
              </p:cNvSpPr>
              <p:nvPr/>
            </p:nvSpPr>
            <p:spPr bwMode="auto">
              <a:xfrm>
                <a:off x="1835151" y="5308601"/>
                <a:ext cx="361950" cy="363538"/>
              </a:xfrm>
              <a:custGeom>
                <a:avLst/>
                <a:gdLst>
                  <a:gd name="T0" fmla="*/ 102 w 228"/>
                  <a:gd name="T1" fmla="*/ 2 h 229"/>
                  <a:gd name="T2" fmla="*/ 69 w 228"/>
                  <a:gd name="T3" fmla="*/ 10 h 229"/>
                  <a:gd name="T4" fmla="*/ 41 w 228"/>
                  <a:gd name="T5" fmla="*/ 26 h 229"/>
                  <a:gd name="T6" fmla="*/ 19 w 228"/>
                  <a:gd name="T7" fmla="*/ 51 h 229"/>
                  <a:gd name="T8" fmla="*/ 5 w 228"/>
                  <a:gd name="T9" fmla="*/ 81 h 229"/>
                  <a:gd name="T10" fmla="*/ 0 w 228"/>
                  <a:gd name="T11" fmla="*/ 115 h 229"/>
                  <a:gd name="T12" fmla="*/ 2 w 228"/>
                  <a:gd name="T13" fmla="*/ 138 h 229"/>
                  <a:gd name="T14" fmla="*/ 13 w 228"/>
                  <a:gd name="T15" fmla="*/ 170 h 229"/>
                  <a:gd name="T16" fmla="*/ 33 w 228"/>
                  <a:gd name="T17" fmla="*/ 196 h 229"/>
                  <a:gd name="T18" fmla="*/ 60 w 228"/>
                  <a:gd name="T19" fmla="*/ 215 h 229"/>
                  <a:gd name="T20" fmla="*/ 91 w 228"/>
                  <a:gd name="T21" fmla="*/ 227 h 229"/>
                  <a:gd name="T22" fmla="*/ 113 w 228"/>
                  <a:gd name="T23" fmla="*/ 229 h 229"/>
                  <a:gd name="T24" fmla="*/ 148 w 228"/>
                  <a:gd name="T25" fmla="*/ 225 h 229"/>
                  <a:gd name="T26" fmla="*/ 178 w 228"/>
                  <a:gd name="T27" fmla="*/ 210 h 229"/>
                  <a:gd name="T28" fmla="*/ 202 w 228"/>
                  <a:gd name="T29" fmla="*/ 187 h 229"/>
                  <a:gd name="T30" fmla="*/ 220 w 228"/>
                  <a:gd name="T31" fmla="*/ 159 h 229"/>
                  <a:gd name="T32" fmla="*/ 228 w 228"/>
                  <a:gd name="T33" fmla="*/ 127 h 229"/>
                  <a:gd name="T34" fmla="*/ 228 w 228"/>
                  <a:gd name="T35" fmla="*/ 103 h 229"/>
                  <a:gd name="T36" fmla="*/ 220 w 228"/>
                  <a:gd name="T37" fmla="*/ 70 h 229"/>
                  <a:gd name="T38" fmla="*/ 202 w 228"/>
                  <a:gd name="T39" fmla="*/ 42 h 229"/>
                  <a:gd name="T40" fmla="*/ 178 w 228"/>
                  <a:gd name="T41" fmla="*/ 20 h 229"/>
                  <a:gd name="T42" fmla="*/ 148 w 228"/>
                  <a:gd name="T43" fmla="*/ 5 h 229"/>
                  <a:gd name="T44" fmla="*/ 113 w 228"/>
                  <a:gd name="T45" fmla="*/ 0 h 229"/>
                  <a:gd name="T46" fmla="*/ 113 w 228"/>
                  <a:gd name="T47" fmla="*/ 221 h 229"/>
                  <a:gd name="T48" fmla="*/ 82 w 228"/>
                  <a:gd name="T49" fmla="*/ 217 h 229"/>
                  <a:gd name="T50" fmla="*/ 54 w 228"/>
                  <a:gd name="T51" fmla="*/ 204 h 229"/>
                  <a:gd name="T52" fmla="*/ 32 w 228"/>
                  <a:gd name="T53" fmla="*/ 183 h 229"/>
                  <a:gd name="T54" fmla="*/ 15 w 228"/>
                  <a:gd name="T55" fmla="*/ 157 h 229"/>
                  <a:gd name="T56" fmla="*/ 8 w 228"/>
                  <a:gd name="T57" fmla="*/ 125 h 229"/>
                  <a:gd name="T58" fmla="*/ 8 w 228"/>
                  <a:gd name="T59" fmla="*/ 104 h 229"/>
                  <a:gd name="T60" fmla="*/ 15 w 228"/>
                  <a:gd name="T61" fmla="*/ 73 h 229"/>
                  <a:gd name="T62" fmla="*/ 32 w 228"/>
                  <a:gd name="T63" fmla="*/ 47 h 229"/>
                  <a:gd name="T64" fmla="*/ 54 w 228"/>
                  <a:gd name="T65" fmla="*/ 26 h 229"/>
                  <a:gd name="T66" fmla="*/ 82 w 228"/>
                  <a:gd name="T67" fmla="*/ 13 h 229"/>
                  <a:gd name="T68" fmla="*/ 113 w 228"/>
                  <a:gd name="T69" fmla="*/ 9 h 229"/>
                  <a:gd name="T70" fmla="*/ 136 w 228"/>
                  <a:gd name="T71" fmla="*/ 10 h 229"/>
                  <a:gd name="T72" fmla="*/ 165 w 228"/>
                  <a:gd name="T73" fmla="*/ 21 h 229"/>
                  <a:gd name="T74" fmla="*/ 189 w 228"/>
                  <a:gd name="T75" fmla="*/ 39 h 229"/>
                  <a:gd name="T76" fmla="*/ 208 w 228"/>
                  <a:gd name="T77" fmla="*/ 63 h 229"/>
                  <a:gd name="T78" fmla="*/ 219 w 228"/>
                  <a:gd name="T79" fmla="*/ 94 h 229"/>
                  <a:gd name="T80" fmla="*/ 221 w 228"/>
                  <a:gd name="T81" fmla="*/ 115 h 229"/>
                  <a:gd name="T82" fmla="*/ 216 w 228"/>
                  <a:gd name="T83" fmla="*/ 146 h 229"/>
                  <a:gd name="T84" fmla="*/ 202 w 228"/>
                  <a:gd name="T85" fmla="*/ 174 h 229"/>
                  <a:gd name="T86" fmla="*/ 182 w 228"/>
                  <a:gd name="T87" fmla="*/ 197 h 229"/>
                  <a:gd name="T88" fmla="*/ 155 w 228"/>
                  <a:gd name="T89" fmla="*/ 213 h 229"/>
                  <a:gd name="T90" fmla="*/ 125 w 228"/>
                  <a:gd name="T91" fmla="*/ 22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8" h="229">
                    <a:moveTo>
                      <a:pt x="113" y="0"/>
                    </a:moveTo>
                    <a:lnTo>
                      <a:pt x="113" y="0"/>
                    </a:lnTo>
                    <a:lnTo>
                      <a:pt x="102" y="2"/>
                    </a:lnTo>
                    <a:lnTo>
                      <a:pt x="91" y="3"/>
                    </a:lnTo>
                    <a:lnTo>
                      <a:pt x="79" y="5"/>
                    </a:lnTo>
                    <a:lnTo>
                      <a:pt x="69" y="10"/>
                    </a:lnTo>
                    <a:lnTo>
                      <a:pt x="60" y="14"/>
                    </a:lnTo>
                    <a:lnTo>
                      <a:pt x="50" y="20"/>
                    </a:lnTo>
                    <a:lnTo>
                      <a:pt x="41" y="26"/>
                    </a:lnTo>
                    <a:lnTo>
                      <a:pt x="33" y="34"/>
                    </a:lnTo>
                    <a:lnTo>
                      <a:pt x="26" y="42"/>
                    </a:lnTo>
                    <a:lnTo>
                      <a:pt x="19" y="51"/>
                    </a:lnTo>
                    <a:lnTo>
                      <a:pt x="13" y="60"/>
                    </a:lnTo>
                    <a:lnTo>
                      <a:pt x="8" y="70"/>
                    </a:lnTo>
                    <a:lnTo>
                      <a:pt x="5" y="81"/>
                    </a:lnTo>
                    <a:lnTo>
                      <a:pt x="2" y="92"/>
                    </a:lnTo>
                    <a:lnTo>
                      <a:pt x="0" y="103"/>
                    </a:lnTo>
                    <a:lnTo>
                      <a:pt x="0" y="115"/>
                    </a:lnTo>
                    <a:lnTo>
                      <a:pt x="0" y="115"/>
                    </a:lnTo>
                    <a:lnTo>
                      <a:pt x="0" y="127"/>
                    </a:lnTo>
                    <a:lnTo>
                      <a:pt x="2" y="138"/>
                    </a:lnTo>
                    <a:lnTo>
                      <a:pt x="5" y="149"/>
                    </a:lnTo>
                    <a:lnTo>
                      <a:pt x="8" y="159"/>
                    </a:lnTo>
                    <a:lnTo>
                      <a:pt x="13" y="170"/>
                    </a:lnTo>
                    <a:lnTo>
                      <a:pt x="19" y="179"/>
                    </a:lnTo>
                    <a:lnTo>
                      <a:pt x="26" y="187"/>
                    </a:lnTo>
                    <a:lnTo>
                      <a:pt x="33" y="196"/>
                    </a:lnTo>
                    <a:lnTo>
                      <a:pt x="41" y="204"/>
                    </a:lnTo>
                    <a:lnTo>
                      <a:pt x="50" y="210"/>
                    </a:lnTo>
                    <a:lnTo>
                      <a:pt x="60" y="215"/>
                    </a:lnTo>
                    <a:lnTo>
                      <a:pt x="69" y="220"/>
                    </a:lnTo>
                    <a:lnTo>
                      <a:pt x="79" y="225"/>
                    </a:lnTo>
                    <a:lnTo>
                      <a:pt x="91" y="227"/>
                    </a:lnTo>
                    <a:lnTo>
                      <a:pt x="102" y="228"/>
                    </a:lnTo>
                    <a:lnTo>
                      <a:pt x="113" y="229"/>
                    </a:lnTo>
                    <a:lnTo>
                      <a:pt x="113" y="229"/>
                    </a:lnTo>
                    <a:lnTo>
                      <a:pt x="125" y="228"/>
                    </a:lnTo>
                    <a:lnTo>
                      <a:pt x="137" y="227"/>
                    </a:lnTo>
                    <a:lnTo>
                      <a:pt x="148" y="225"/>
                    </a:lnTo>
                    <a:lnTo>
                      <a:pt x="159" y="220"/>
                    </a:lnTo>
                    <a:lnTo>
                      <a:pt x="168" y="215"/>
                    </a:lnTo>
                    <a:lnTo>
                      <a:pt x="178" y="210"/>
                    </a:lnTo>
                    <a:lnTo>
                      <a:pt x="187" y="204"/>
                    </a:lnTo>
                    <a:lnTo>
                      <a:pt x="195" y="196"/>
                    </a:lnTo>
                    <a:lnTo>
                      <a:pt x="202" y="187"/>
                    </a:lnTo>
                    <a:lnTo>
                      <a:pt x="209" y="179"/>
                    </a:lnTo>
                    <a:lnTo>
                      <a:pt x="215" y="170"/>
                    </a:lnTo>
                    <a:lnTo>
                      <a:pt x="220" y="159"/>
                    </a:lnTo>
                    <a:lnTo>
                      <a:pt x="223" y="149"/>
                    </a:lnTo>
                    <a:lnTo>
                      <a:pt x="226" y="138"/>
                    </a:lnTo>
                    <a:lnTo>
                      <a:pt x="228" y="127"/>
                    </a:lnTo>
                    <a:lnTo>
                      <a:pt x="228" y="115"/>
                    </a:lnTo>
                    <a:lnTo>
                      <a:pt x="228" y="115"/>
                    </a:lnTo>
                    <a:lnTo>
                      <a:pt x="228" y="103"/>
                    </a:lnTo>
                    <a:lnTo>
                      <a:pt x="226" y="92"/>
                    </a:lnTo>
                    <a:lnTo>
                      <a:pt x="223" y="81"/>
                    </a:lnTo>
                    <a:lnTo>
                      <a:pt x="220" y="70"/>
                    </a:lnTo>
                    <a:lnTo>
                      <a:pt x="215" y="60"/>
                    </a:lnTo>
                    <a:lnTo>
                      <a:pt x="209" y="51"/>
                    </a:lnTo>
                    <a:lnTo>
                      <a:pt x="202" y="42"/>
                    </a:lnTo>
                    <a:lnTo>
                      <a:pt x="195" y="34"/>
                    </a:lnTo>
                    <a:lnTo>
                      <a:pt x="187" y="26"/>
                    </a:lnTo>
                    <a:lnTo>
                      <a:pt x="178" y="20"/>
                    </a:lnTo>
                    <a:lnTo>
                      <a:pt x="168" y="14"/>
                    </a:lnTo>
                    <a:lnTo>
                      <a:pt x="159" y="10"/>
                    </a:lnTo>
                    <a:lnTo>
                      <a:pt x="148" y="5"/>
                    </a:lnTo>
                    <a:lnTo>
                      <a:pt x="137" y="3"/>
                    </a:lnTo>
                    <a:lnTo>
                      <a:pt x="125" y="2"/>
                    </a:lnTo>
                    <a:lnTo>
                      <a:pt x="113" y="0"/>
                    </a:lnTo>
                    <a:lnTo>
                      <a:pt x="113" y="0"/>
                    </a:lnTo>
                    <a:close/>
                    <a:moveTo>
                      <a:pt x="113" y="221"/>
                    </a:moveTo>
                    <a:lnTo>
                      <a:pt x="113" y="221"/>
                    </a:lnTo>
                    <a:lnTo>
                      <a:pt x="103" y="221"/>
                    </a:lnTo>
                    <a:lnTo>
                      <a:pt x="92" y="220"/>
                    </a:lnTo>
                    <a:lnTo>
                      <a:pt x="82" y="217"/>
                    </a:lnTo>
                    <a:lnTo>
                      <a:pt x="72" y="213"/>
                    </a:lnTo>
                    <a:lnTo>
                      <a:pt x="63" y="208"/>
                    </a:lnTo>
                    <a:lnTo>
                      <a:pt x="54" y="204"/>
                    </a:lnTo>
                    <a:lnTo>
                      <a:pt x="46" y="197"/>
                    </a:lnTo>
                    <a:lnTo>
                      <a:pt x="39" y="191"/>
                    </a:lnTo>
                    <a:lnTo>
                      <a:pt x="32" y="183"/>
                    </a:lnTo>
                    <a:lnTo>
                      <a:pt x="26" y="174"/>
                    </a:lnTo>
                    <a:lnTo>
                      <a:pt x="20" y="166"/>
                    </a:lnTo>
                    <a:lnTo>
                      <a:pt x="15" y="157"/>
                    </a:lnTo>
                    <a:lnTo>
                      <a:pt x="12" y="146"/>
                    </a:lnTo>
                    <a:lnTo>
                      <a:pt x="9" y="136"/>
                    </a:lnTo>
                    <a:lnTo>
                      <a:pt x="8" y="125"/>
                    </a:lnTo>
                    <a:lnTo>
                      <a:pt x="7" y="115"/>
                    </a:lnTo>
                    <a:lnTo>
                      <a:pt x="7" y="115"/>
                    </a:lnTo>
                    <a:lnTo>
                      <a:pt x="8" y="104"/>
                    </a:lnTo>
                    <a:lnTo>
                      <a:pt x="9" y="94"/>
                    </a:lnTo>
                    <a:lnTo>
                      <a:pt x="12" y="83"/>
                    </a:lnTo>
                    <a:lnTo>
                      <a:pt x="15" y="73"/>
                    </a:lnTo>
                    <a:lnTo>
                      <a:pt x="20" y="63"/>
                    </a:lnTo>
                    <a:lnTo>
                      <a:pt x="26" y="55"/>
                    </a:lnTo>
                    <a:lnTo>
                      <a:pt x="32" y="47"/>
                    </a:lnTo>
                    <a:lnTo>
                      <a:pt x="39" y="39"/>
                    </a:lnTo>
                    <a:lnTo>
                      <a:pt x="46" y="32"/>
                    </a:lnTo>
                    <a:lnTo>
                      <a:pt x="54" y="26"/>
                    </a:lnTo>
                    <a:lnTo>
                      <a:pt x="63" y="21"/>
                    </a:lnTo>
                    <a:lnTo>
                      <a:pt x="72" y="17"/>
                    </a:lnTo>
                    <a:lnTo>
                      <a:pt x="82" y="13"/>
                    </a:lnTo>
                    <a:lnTo>
                      <a:pt x="92" y="10"/>
                    </a:lnTo>
                    <a:lnTo>
                      <a:pt x="103" y="9"/>
                    </a:lnTo>
                    <a:lnTo>
                      <a:pt x="113" y="9"/>
                    </a:lnTo>
                    <a:lnTo>
                      <a:pt x="113" y="9"/>
                    </a:lnTo>
                    <a:lnTo>
                      <a:pt x="125" y="9"/>
                    </a:lnTo>
                    <a:lnTo>
                      <a:pt x="136" y="10"/>
                    </a:lnTo>
                    <a:lnTo>
                      <a:pt x="146" y="13"/>
                    </a:lnTo>
                    <a:lnTo>
                      <a:pt x="155" y="17"/>
                    </a:lnTo>
                    <a:lnTo>
                      <a:pt x="165" y="21"/>
                    </a:lnTo>
                    <a:lnTo>
                      <a:pt x="174" y="26"/>
                    </a:lnTo>
                    <a:lnTo>
                      <a:pt x="182" y="32"/>
                    </a:lnTo>
                    <a:lnTo>
                      <a:pt x="189" y="39"/>
                    </a:lnTo>
                    <a:lnTo>
                      <a:pt x="196" y="47"/>
                    </a:lnTo>
                    <a:lnTo>
                      <a:pt x="202" y="55"/>
                    </a:lnTo>
                    <a:lnTo>
                      <a:pt x="208" y="63"/>
                    </a:lnTo>
                    <a:lnTo>
                      <a:pt x="213" y="73"/>
                    </a:lnTo>
                    <a:lnTo>
                      <a:pt x="216" y="83"/>
                    </a:lnTo>
                    <a:lnTo>
                      <a:pt x="219" y="94"/>
                    </a:lnTo>
                    <a:lnTo>
                      <a:pt x="220" y="104"/>
                    </a:lnTo>
                    <a:lnTo>
                      <a:pt x="221" y="115"/>
                    </a:lnTo>
                    <a:lnTo>
                      <a:pt x="221" y="115"/>
                    </a:lnTo>
                    <a:lnTo>
                      <a:pt x="220" y="125"/>
                    </a:lnTo>
                    <a:lnTo>
                      <a:pt x="219" y="136"/>
                    </a:lnTo>
                    <a:lnTo>
                      <a:pt x="216" y="146"/>
                    </a:lnTo>
                    <a:lnTo>
                      <a:pt x="213" y="157"/>
                    </a:lnTo>
                    <a:lnTo>
                      <a:pt x="208" y="166"/>
                    </a:lnTo>
                    <a:lnTo>
                      <a:pt x="202" y="174"/>
                    </a:lnTo>
                    <a:lnTo>
                      <a:pt x="196" y="183"/>
                    </a:lnTo>
                    <a:lnTo>
                      <a:pt x="189" y="191"/>
                    </a:lnTo>
                    <a:lnTo>
                      <a:pt x="182" y="197"/>
                    </a:lnTo>
                    <a:lnTo>
                      <a:pt x="174" y="204"/>
                    </a:lnTo>
                    <a:lnTo>
                      <a:pt x="165" y="208"/>
                    </a:lnTo>
                    <a:lnTo>
                      <a:pt x="155" y="213"/>
                    </a:lnTo>
                    <a:lnTo>
                      <a:pt x="146" y="217"/>
                    </a:lnTo>
                    <a:lnTo>
                      <a:pt x="136" y="220"/>
                    </a:lnTo>
                    <a:lnTo>
                      <a:pt x="125" y="221"/>
                    </a:lnTo>
                    <a:lnTo>
                      <a:pt x="113" y="221"/>
                    </a:lnTo>
                    <a:lnTo>
                      <a:pt x="113"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3" name="Freeform 85">
                <a:extLst>
                  <a:ext uri="{FF2B5EF4-FFF2-40B4-BE49-F238E27FC236}">
                    <a16:creationId xmlns:a16="http://schemas.microsoft.com/office/drawing/2014/main" id="{91C5B3E7-6268-4F91-B81B-2E03388E3973}"/>
                  </a:ext>
                </a:extLst>
              </p:cNvPr>
              <p:cNvSpPr>
                <a:spLocks/>
              </p:cNvSpPr>
              <p:nvPr/>
            </p:nvSpPr>
            <p:spPr bwMode="auto">
              <a:xfrm>
                <a:off x="2014538" y="5341938"/>
                <a:ext cx="14288" cy="36513"/>
              </a:xfrm>
              <a:custGeom>
                <a:avLst/>
                <a:gdLst>
                  <a:gd name="T0" fmla="*/ 5 w 9"/>
                  <a:gd name="T1" fmla="*/ 23 h 23"/>
                  <a:gd name="T2" fmla="*/ 5 w 9"/>
                  <a:gd name="T3" fmla="*/ 23 h 23"/>
                  <a:gd name="T4" fmla="*/ 7 w 9"/>
                  <a:gd name="T5" fmla="*/ 21 h 23"/>
                  <a:gd name="T6" fmla="*/ 9 w 9"/>
                  <a:gd name="T7" fmla="*/ 19 h 23"/>
                  <a:gd name="T8" fmla="*/ 9 w 9"/>
                  <a:gd name="T9" fmla="*/ 5 h 23"/>
                  <a:gd name="T10" fmla="*/ 9 w 9"/>
                  <a:gd name="T11" fmla="*/ 5 h 23"/>
                  <a:gd name="T12" fmla="*/ 7 w 9"/>
                  <a:gd name="T13" fmla="*/ 2 h 23"/>
                  <a:gd name="T14" fmla="*/ 5 w 9"/>
                  <a:gd name="T15" fmla="*/ 0 h 23"/>
                  <a:gd name="T16" fmla="*/ 5 w 9"/>
                  <a:gd name="T17" fmla="*/ 0 h 23"/>
                  <a:gd name="T18" fmla="*/ 2 w 9"/>
                  <a:gd name="T19" fmla="*/ 2 h 23"/>
                  <a:gd name="T20" fmla="*/ 0 w 9"/>
                  <a:gd name="T21" fmla="*/ 5 h 23"/>
                  <a:gd name="T22" fmla="*/ 0 w 9"/>
                  <a:gd name="T23" fmla="*/ 19 h 23"/>
                  <a:gd name="T24" fmla="*/ 0 w 9"/>
                  <a:gd name="T25" fmla="*/ 19 h 23"/>
                  <a:gd name="T26" fmla="*/ 2 w 9"/>
                  <a:gd name="T27" fmla="*/ 21 h 23"/>
                  <a:gd name="T28" fmla="*/ 5 w 9"/>
                  <a:gd name="T29" fmla="*/ 23 h 23"/>
                  <a:gd name="T30" fmla="*/ 5 w 9"/>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23">
                    <a:moveTo>
                      <a:pt x="5" y="23"/>
                    </a:moveTo>
                    <a:lnTo>
                      <a:pt x="5" y="23"/>
                    </a:lnTo>
                    <a:lnTo>
                      <a:pt x="7" y="21"/>
                    </a:lnTo>
                    <a:lnTo>
                      <a:pt x="9" y="19"/>
                    </a:lnTo>
                    <a:lnTo>
                      <a:pt x="9" y="5"/>
                    </a:lnTo>
                    <a:lnTo>
                      <a:pt x="9" y="5"/>
                    </a:lnTo>
                    <a:lnTo>
                      <a:pt x="7" y="2"/>
                    </a:lnTo>
                    <a:lnTo>
                      <a:pt x="5" y="0"/>
                    </a:lnTo>
                    <a:lnTo>
                      <a:pt x="5" y="0"/>
                    </a:lnTo>
                    <a:lnTo>
                      <a:pt x="2" y="2"/>
                    </a:lnTo>
                    <a:lnTo>
                      <a:pt x="0" y="5"/>
                    </a:lnTo>
                    <a:lnTo>
                      <a:pt x="0" y="19"/>
                    </a:lnTo>
                    <a:lnTo>
                      <a:pt x="0" y="19"/>
                    </a:lnTo>
                    <a:lnTo>
                      <a:pt x="2" y="21"/>
                    </a:lnTo>
                    <a:lnTo>
                      <a:pt x="5" y="23"/>
                    </a:lnTo>
                    <a:lnTo>
                      <a:pt x="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4" name="Freeform 86">
                <a:extLst>
                  <a:ext uri="{FF2B5EF4-FFF2-40B4-BE49-F238E27FC236}">
                    <a16:creationId xmlns:a16="http://schemas.microsoft.com/office/drawing/2014/main" id="{E4F269E9-D86A-42C4-920A-0730EA9ACF41}"/>
                  </a:ext>
                </a:extLst>
              </p:cNvPr>
              <p:cNvSpPr>
                <a:spLocks/>
              </p:cNvSpPr>
              <p:nvPr/>
            </p:nvSpPr>
            <p:spPr bwMode="auto">
              <a:xfrm>
                <a:off x="1868488" y="5480051"/>
                <a:ext cx="34925" cy="11113"/>
              </a:xfrm>
              <a:custGeom>
                <a:avLst/>
                <a:gdLst>
                  <a:gd name="T0" fmla="*/ 18 w 22"/>
                  <a:gd name="T1" fmla="*/ 0 h 7"/>
                  <a:gd name="T2" fmla="*/ 4 w 22"/>
                  <a:gd name="T3" fmla="*/ 0 h 7"/>
                  <a:gd name="T4" fmla="*/ 4 w 22"/>
                  <a:gd name="T5" fmla="*/ 0 h 7"/>
                  <a:gd name="T6" fmla="*/ 1 w 22"/>
                  <a:gd name="T7" fmla="*/ 1 h 7"/>
                  <a:gd name="T8" fmla="*/ 0 w 22"/>
                  <a:gd name="T9" fmla="*/ 3 h 7"/>
                  <a:gd name="T10" fmla="*/ 0 w 22"/>
                  <a:gd name="T11" fmla="*/ 3 h 7"/>
                  <a:gd name="T12" fmla="*/ 1 w 22"/>
                  <a:gd name="T13" fmla="*/ 6 h 7"/>
                  <a:gd name="T14" fmla="*/ 4 w 22"/>
                  <a:gd name="T15" fmla="*/ 7 h 7"/>
                  <a:gd name="T16" fmla="*/ 18 w 22"/>
                  <a:gd name="T17" fmla="*/ 7 h 7"/>
                  <a:gd name="T18" fmla="*/ 18 w 22"/>
                  <a:gd name="T19" fmla="*/ 7 h 7"/>
                  <a:gd name="T20" fmla="*/ 21 w 22"/>
                  <a:gd name="T21" fmla="*/ 6 h 7"/>
                  <a:gd name="T22" fmla="*/ 22 w 22"/>
                  <a:gd name="T23" fmla="*/ 3 h 7"/>
                  <a:gd name="T24" fmla="*/ 22 w 22"/>
                  <a:gd name="T25" fmla="*/ 3 h 7"/>
                  <a:gd name="T26" fmla="*/ 21 w 22"/>
                  <a:gd name="T27" fmla="*/ 1 h 7"/>
                  <a:gd name="T28" fmla="*/ 18 w 22"/>
                  <a:gd name="T29" fmla="*/ 0 h 7"/>
                  <a:gd name="T30" fmla="*/ 18 w 22"/>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18" y="0"/>
                    </a:moveTo>
                    <a:lnTo>
                      <a:pt x="4" y="0"/>
                    </a:lnTo>
                    <a:lnTo>
                      <a:pt x="4" y="0"/>
                    </a:lnTo>
                    <a:lnTo>
                      <a:pt x="1" y="1"/>
                    </a:lnTo>
                    <a:lnTo>
                      <a:pt x="0" y="3"/>
                    </a:lnTo>
                    <a:lnTo>
                      <a:pt x="0" y="3"/>
                    </a:lnTo>
                    <a:lnTo>
                      <a:pt x="1" y="6"/>
                    </a:lnTo>
                    <a:lnTo>
                      <a:pt x="4" y="7"/>
                    </a:lnTo>
                    <a:lnTo>
                      <a:pt x="18" y="7"/>
                    </a:lnTo>
                    <a:lnTo>
                      <a:pt x="18" y="7"/>
                    </a:lnTo>
                    <a:lnTo>
                      <a:pt x="21" y="6"/>
                    </a:lnTo>
                    <a:lnTo>
                      <a:pt x="22" y="3"/>
                    </a:lnTo>
                    <a:lnTo>
                      <a:pt x="22" y="3"/>
                    </a:lnTo>
                    <a:lnTo>
                      <a:pt x="21"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5" name="Freeform 87">
                <a:extLst>
                  <a:ext uri="{FF2B5EF4-FFF2-40B4-BE49-F238E27FC236}">
                    <a16:creationId xmlns:a16="http://schemas.microsoft.com/office/drawing/2014/main" id="{2301607F-D826-42AE-8C2C-3D282E37722C}"/>
                  </a:ext>
                </a:extLst>
              </p:cNvPr>
              <p:cNvSpPr>
                <a:spLocks/>
              </p:cNvSpPr>
              <p:nvPr/>
            </p:nvSpPr>
            <p:spPr bwMode="auto">
              <a:xfrm>
                <a:off x="2128838" y="5480051"/>
                <a:ext cx="34925" cy="11113"/>
              </a:xfrm>
              <a:custGeom>
                <a:avLst/>
                <a:gdLst>
                  <a:gd name="T0" fmla="*/ 0 w 22"/>
                  <a:gd name="T1" fmla="*/ 3 h 7"/>
                  <a:gd name="T2" fmla="*/ 0 w 22"/>
                  <a:gd name="T3" fmla="*/ 3 h 7"/>
                  <a:gd name="T4" fmla="*/ 1 w 22"/>
                  <a:gd name="T5" fmla="*/ 6 h 7"/>
                  <a:gd name="T6" fmla="*/ 4 w 22"/>
                  <a:gd name="T7" fmla="*/ 7 h 7"/>
                  <a:gd name="T8" fmla="*/ 18 w 22"/>
                  <a:gd name="T9" fmla="*/ 7 h 7"/>
                  <a:gd name="T10" fmla="*/ 18 w 22"/>
                  <a:gd name="T11" fmla="*/ 7 h 7"/>
                  <a:gd name="T12" fmla="*/ 21 w 22"/>
                  <a:gd name="T13" fmla="*/ 6 h 7"/>
                  <a:gd name="T14" fmla="*/ 22 w 22"/>
                  <a:gd name="T15" fmla="*/ 3 h 7"/>
                  <a:gd name="T16" fmla="*/ 22 w 22"/>
                  <a:gd name="T17" fmla="*/ 3 h 7"/>
                  <a:gd name="T18" fmla="*/ 21 w 22"/>
                  <a:gd name="T19" fmla="*/ 1 h 7"/>
                  <a:gd name="T20" fmla="*/ 18 w 22"/>
                  <a:gd name="T21" fmla="*/ 0 h 7"/>
                  <a:gd name="T22" fmla="*/ 4 w 22"/>
                  <a:gd name="T23" fmla="*/ 0 h 7"/>
                  <a:gd name="T24" fmla="*/ 4 w 22"/>
                  <a:gd name="T25" fmla="*/ 0 h 7"/>
                  <a:gd name="T26" fmla="*/ 1 w 22"/>
                  <a:gd name="T27" fmla="*/ 1 h 7"/>
                  <a:gd name="T28" fmla="*/ 0 w 22"/>
                  <a:gd name="T29" fmla="*/ 3 h 7"/>
                  <a:gd name="T30" fmla="*/ 0 w 22"/>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0" y="3"/>
                    </a:moveTo>
                    <a:lnTo>
                      <a:pt x="0" y="3"/>
                    </a:lnTo>
                    <a:lnTo>
                      <a:pt x="1" y="6"/>
                    </a:lnTo>
                    <a:lnTo>
                      <a:pt x="4" y="7"/>
                    </a:lnTo>
                    <a:lnTo>
                      <a:pt x="18" y="7"/>
                    </a:lnTo>
                    <a:lnTo>
                      <a:pt x="18" y="7"/>
                    </a:lnTo>
                    <a:lnTo>
                      <a:pt x="21" y="6"/>
                    </a:lnTo>
                    <a:lnTo>
                      <a:pt x="22" y="3"/>
                    </a:lnTo>
                    <a:lnTo>
                      <a:pt x="22" y="3"/>
                    </a:lnTo>
                    <a:lnTo>
                      <a:pt x="21" y="1"/>
                    </a:lnTo>
                    <a:lnTo>
                      <a:pt x="18" y="0"/>
                    </a:lnTo>
                    <a:lnTo>
                      <a:pt x="4" y="0"/>
                    </a:lnTo>
                    <a:lnTo>
                      <a:pt x="4" y="0"/>
                    </a:lnTo>
                    <a:lnTo>
                      <a:pt x="1"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6" name="Freeform 88">
                <a:extLst>
                  <a:ext uri="{FF2B5EF4-FFF2-40B4-BE49-F238E27FC236}">
                    <a16:creationId xmlns:a16="http://schemas.microsoft.com/office/drawing/2014/main" id="{EA870788-AFF0-4D20-B241-E975206FEADB}"/>
                  </a:ext>
                </a:extLst>
              </p:cNvPr>
              <p:cNvSpPr>
                <a:spLocks/>
              </p:cNvSpPr>
              <p:nvPr/>
            </p:nvSpPr>
            <p:spPr bwMode="auto">
              <a:xfrm>
                <a:off x="1908176" y="5394326"/>
                <a:ext cx="30163" cy="30163"/>
              </a:xfrm>
              <a:custGeom>
                <a:avLst/>
                <a:gdLst>
                  <a:gd name="T0" fmla="*/ 15 w 19"/>
                  <a:gd name="T1" fmla="*/ 19 h 19"/>
                  <a:gd name="T2" fmla="*/ 15 w 19"/>
                  <a:gd name="T3" fmla="*/ 19 h 19"/>
                  <a:gd name="T4" fmla="*/ 18 w 19"/>
                  <a:gd name="T5" fmla="*/ 18 h 19"/>
                  <a:gd name="T6" fmla="*/ 18 w 19"/>
                  <a:gd name="T7" fmla="*/ 18 h 19"/>
                  <a:gd name="T8" fmla="*/ 19 w 19"/>
                  <a:gd name="T9" fmla="*/ 15 h 19"/>
                  <a:gd name="T10" fmla="*/ 18 w 19"/>
                  <a:gd name="T11" fmla="*/ 12 h 19"/>
                  <a:gd name="T12" fmla="*/ 7 w 19"/>
                  <a:gd name="T13" fmla="*/ 1 h 19"/>
                  <a:gd name="T14" fmla="*/ 7 w 19"/>
                  <a:gd name="T15" fmla="*/ 1 h 19"/>
                  <a:gd name="T16" fmla="*/ 4 w 19"/>
                  <a:gd name="T17" fmla="*/ 0 h 19"/>
                  <a:gd name="T18" fmla="*/ 1 w 19"/>
                  <a:gd name="T19" fmla="*/ 1 h 19"/>
                  <a:gd name="T20" fmla="*/ 1 w 19"/>
                  <a:gd name="T21" fmla="*/ 1 h 19"/>
                  <a:gd name="T22" fmla="*/ 0 w 19"/>
                  <a:gd name="T23" fmla="*/ 4 h 19"/>
                  <a:gd name="T24" fmla="*/ 1 w 19"/>
                  <a:gd name="T25" fmla="*/ 6 h 19"/>
                  <a:gd name="T26" fmla="*/ 12 w 19"/>
                  <a:gd name="T27" fmla="*/ 18 h 19"/>
                  <a:gd name="T28" fmla="*/ 12 w 19"/>
                  <a:gd name="T29" fmla="*/ 18 h 19"/>
                  <a:gd name="T30" fmla="*/ 15 w 19"/>
                  <a:gd name="T31" fmla="*/ 19 h 19"/>
                  <a:gd name="T32" fmla="*/ 15 w 19"/>
                  <a:gd name="T3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15" y="19"/>
                    </a:moveTo>
                    <a:lnTo>
                      <a:pt x="15" y="19"/>
                    </a:lnTo>
                    <a:lnTo>
                      <a:pt x="18" y="18"/>
                    </a:lnTo>
                    <a:lnTo>
                      <a:pt x="18" y="18"/>
                    </a:lnTo>
                    <a:lnTo>
                      <a:pt x="19" y="15"/>
                    </a:lnTo>
                    <a:lnTo>
                      <a:pt x="18" y="12"/>
                    </a:lnTo>
                    <a:lnTo>
                      <a:pt x="7" y="1"/>
                    </a:lnTo>
                    <a:lnTo>
                      <a:pt x="7" y="1"/>
                    </a:lnTo>
                    <a:lnTo>
                      <a:pt x="4" y="0"/>
                    </a:lnTo>
                    <a:lnTo>
                      <a:pt x="1" y="1"/>
                    </a:lnTo>
                    <a:lnTo>
                      <a:pt x="1" y="1"/>
                    </a:lnTo>
                    <a:lnTo>
                      <a:pt x="0" y="4"/>
                    </a:lnTo>
                    <a:lnTo>
                      <a:pt x="1" y="6"/>
                    </a:lnTo>
                    <a:lnTo>
                      <a:pt x="12" y="18"/>
                    </a:lnTo>
                    <a:lnTo>
                      <a:pt x="12" y="18"/>
                    </a:lnTo>
                    <a:lnTo>
                      <a:pt x="15" y="19"/>
                    </a:lnTo>
                    <a:lnTo>
                      <a:pt x="1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7" name="Freeform 89">
                <a:extLst>
                  <a:ext uri="{FF2B5EF4-FFF2-40B4-BE49-F238E27FC236}">
                    <a16:creationId xmlns:a16="http://schemas.microsoft.com/office/drawing/2014/main" id="{8CB2ED45-B9D6-49C8-BE47-D82F604DEB55}"/>
                  </a:ext>
                </a:extLst>
              </p:cNvPr>
              <p:cNvSpPr>
                <a:spLocks/>
              </p:cNvSpPr>
              <p:nvPr/>
            </p:nvSpPr>
            <p:spPr bwMode="auto">
              <a:xfrm>
                <a:off x="2095501" y="5546726"/>
                <a:ext cx="28575" cy="30163"/>
              </a:xfrm>
              <a:custGeom>
                <a:avLst/>
                <a:gdLst>
                  <a:gd name="T0" fmla="*/ 7 w 18"/>
                  <a:gd name="T1" fmla="*/ 1 h 19"/>
                  <a:gd name="T2" fmla="*/ 7 w 18"/>
                  <a:gd name="T3" fmla="*/ 1 h 19"/>
                  <a:gd name="T4" fmla="*/ 3 w 18"/>
                  <a:gd name="T5" fmla="*/ 0 h 19"/>
                  <a:gd name="T6" fmla="*/ 1 w 18"/>
                  <a:gd name="T7" fmla="*/ 1 h 19"/>
                  <a:gd name="T8" fmla="*/ 1 w 18"/>
                  <a:gd name="T9" fmla="*/ 1 h 19"/>
                  <a:gd name="T10" fmla="*/ 0 w 18"/>
                  <a:gd name="T11" fmla="*/ 5 h 19"/>
                  <a:gd name="T12" fmla="*/ 1 w 18"/>
                  <a:gd name="T13" fmla="*/ 7 h 19"/>
                  <a:gd name="T14" fmla="*/ 11 w 18"/>
                  <a:gd name="T15" fmla="*/ 17 h 19"/>
                  <a:gd name="T16" fmla="*/ 11 w 18"/>
                  <a:gd name="T17" fmla="*/ 17 h 19"/>
                  <a:gd name="T18" fmla="*/ 14 w 18"/>
                  <a:gd name="T19" fmla="*/ 19 h 19"/>
                  <a:gd name="T20" fmla="*/ 14 w 18"/>
                  <a:gd name="T21" fmla="*/ 19 h 19"/>
                  <a:gd name="T22" fmla="*/ 17 w 18"/>
                  <a:gd name="T23" fmla="*/ 17 h 19"/>
                  <a:gd name="T24" fmla="*/ 17 w 18"/>
                  <a:gd name="T25" fmla="*/ 17 h 19"/>
                  <a:gd name="T26" fmla="*/ 18 w 18"/>
                  <a:gd name="T27" fmla="*/ 15 h 19"/>
                  <a:gd name="T28" fmla="*/ 17 w 18"/>
                  <a:gd name="T29" fmla="*/ 12 h 19"/>
                  <a:gd name="T30" fmla="*/ 7 w 18"/>
                  <a:gd name="T3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9">
                    <a:moveTo>
                      <a:pt x="7" y="1"/>
                    </a:moveTo>
                    <a:lnTo>
                      <a:pt x="7" y="1"/>
                    </a:lnTo>
                    <a:lnTo>
                      <a:pt x="3" y="0"/>
                    </a:lnTo>
                    <a:lnTo>
                      <a:pt x="1" y="1"/>
                    </a:lnTo>
                    <a:lnTo>
                      <a:pt x="1" y="1"/>
                    </a:lnTo>
                    <a:lnTo>
                      <a:pt x="0" y="5"/>
                    </a:lnTo>
                    <a:lnTo>
                      <a:pt x="1" y="7"/>
                    </a:lnTo>
                    <a:lnTo>
                      <a:pt x="11" y="17"/>
                    </a:lnTo>
                    <a:lnTo>
                      <a:pt x="11" y="17"/>
                    </a:lnTo>
                    <a:lnTo>
                      <a:pt x="14" y="19"/>
                    </a:lnTo>
                    <a:lnTo>
                      <a:pt x="14" y="19"/>
                    </a:lnTo>
                    <a:lnTo>
                      <a:pt x="17" y="17"/>
                    </a:lnTo>
                    <a:lnTo>
                      <a:pt x="17" y="17"/>
                    </a:lnTo>
                    <a:lnTo>
                      <a:pt x="18" y="15"/>
                    </a:lnTo>
                    <a:lnTo>
                      <a:pt x="17" y="12"/>
                    </a:lnTo>
                    <a:lnTo>
                      <a:pt x="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8" name="Freeform 90">
                <a:extLst>
                  <a:ext uri="{FF2B5EF4-FFF2-40B4-BE49-F238E27FC236}">
                    <a16:creationId xmlns:a16="http://schemas.microsoft.com/office/drawing/2014/main" id="{742BA123-7440-4333-A579-9F270F3B4EEC}"/>
                  </a:ext>
                </a:extLst>
              </p:cNvPr>
              <p:cNvSpPr>
                <a:spLocks/>
              </p:cNvSpPr>
              <p:nvPr/>
            </p:nvSpPr>
            <p:spPr bwMode="auto">
              <a:xfrm>
                <a:off x="2087563" y="5389563"/>
                <a:ext cx="31750" cy="28575"/>
              </a:xfrm>
              <a:custGeom>
                <a:avLst/>
                <a:gdLst>
                  <a:gd name="T0" fmla="*/ 19 w 20"/>
                  <a:gd name="T1" fmla="*/ 5 h 18"/>
                  <a:gd name="T2" fmla="*/ 19 w 20"/>
                  <a:gd name="T3" fmla="*/ 5 h 18"/>
                  <a:gd name="T4" fmla="*/ 20 w 20"/>
                  <a:gd name="T5" fmla="*/ 3 h 18"/>
                  <a:gd name="T6" fmla="*/ 19 w 20"/>
                  <a:gd name="T7" fmla="*/ 1 h 18"/>
                  <a:gd name="T8" fmla="*/ 19 w 20"/>
                  <a:gd name="T9" fmla="*/ 1 h 18"/>
                  <a:gd name="T10" fmla="*/ 15 w 20"/>
                  <a:gd name="T11" fmla="*/ 0 h 18"/>
                  <a:gd name="T12" fmla="*/ 13 w 20"/>
                  <a:gd name="T13" fmla="*/ 1 h 18"/>
                  <a:gd name="T14" fmla="*/ 1 w 20"/>
                  <a:gd name="T15" fmla="*/ 11 h 18"/>
                  <a:gd name="T16" fmla="*/ 1 w 20"/>
                  <a:gd name="T17" fmla="*/ 11 h 18"/>
                  <a:gd name="T18" fmla="*/ 0 w 20"/>
                  <a:gd name="T19" fmla="*/ 15 h 18"/>
                  <a:gd name="T20" fmla="*/ 1 w 20"/>
                  <a:gd name="T21" fmla="*/ 17 h 18"/>
                  <a:gd name="T22" fmla="*/ 1 w 20"/>
                  <a:gd name="T23" fmla="*/ 17 h 18"/>
                  <a:gd name="T24" fmla="*/ 5 w 20"/>
                  <a:gd name="T25" fmla="*/ 18 h 18"/>
                  <a:gd name="T26" fmla="*/ 5 w 20"/>
                  <a:gd name="T27" fmla="*/ 18 h 18"/>
                  <a:gd name="T28" fmla="*/ 7 w 20"/>
                  <a:gd name="T29" fmla="*/ 17 h 18"/>
                  <a:gd name="T30" fmla="*/ 19 w 20"/>
                  <a:gd name="T31"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8">
                    <a:moveTo>
                      <a:pt x="19" y="5"/>
                    </a:moveTo>
                    <a:lnTo>
                      <a:pt x="19" y="5"/>
                    </a:lnTo>
                    <a:lnTo>
                      <a:pt x="20" y="3"/>
                    </a:lnTo>
                    <a:lnTo>
                      <a:pt x="19" y="1"/>
                    </a:lnTo>
                    <a:lnTo>
                      <a:pt x="19" y="1"/>
                    </a:lnTo>
                    <a:lnTo>
                      <a:pt x="15" y="0"/>
                    </a:lnTo>
                    <a:lnTo>
                      <a:pt x="13" y="1"/>
                    </a:lnTo>
                    <a:lnTo>
                      <a:pt x="1" y="11"/>
                    </a:lnTo>
                    <a:lnTo>
                      <a:pt x="1" y="11"/>
                    </a:lnTo>
                    <a:lnTo>
                      <a:pt x="0" y="15"/>
                    </a:lnTo>
                    <a:lnTo>
                      <a:pt x="1" y="17"/>
                    </a:lnTo>
                    <a:lnTo>
                      <a:pt x="1" y="17"/>
                    </a:lnTo>
                    <a:lnTo>
                      <a:pt x="5" y="18"/>
                    </a:lnTo>
                    <a:lnTo>
                      <a:pt x="5" y="18"/>
                    </a:lnTo>
                    <a:lnTo>
                      <a:pt x="7" y="17"/>
                    </a:lnTo>
                    <a:lnTo>
                      <a:pt x="1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9" name="Freeform 91">
                <a:extLst>
                  <a:ext uri="{FF2B5EF4-FFF2-40B4-BE49-F238E27FC236}">
                    <a16:creationId xmlns:a16="http://schemas.microsoft.com/office/drawing/2014/main" id="{DB1856C4-A282-4C1E-B60E-F2C4E6C40F6C}"/>
                  </a:ext>
                </a:extLst>
              </p:cNvPr>
              <p:cNvSpPr>
                <a:spLocks/>
              </p:cNvSpPr>
              <p:nvPr/>
            </p:nvSpPr>
            <p:spPr bwMode="auto">
              <a:xfrm>
                <a:off x="1912938" y="5551488"/>
                <a:ext cx="30163" cy="30163"/>
              </a:xfrm>
              <a:custGeom>
                <a:avLst/>
                <a:gdLst>
                  <a:gd name="T0" fmla="*/ 12 w 19"/>
                  <a:gd name="T1" fmla="*/ 2 h 19"/>
                  <a:gd name="T2" fmla="*/ 1 w 19"/>
                  <a:gd name="T3" fmla="*/ 12 h 19"/>
                  <a:gd name="T4" fmla="*/ 1 w 19"/>
                  <a:gd name="T5" fmla="*/ 12 h 19"/>
                  <a:gd name="T6" fmla="*/ 0 w 19"/>
                  <a:gd name="T7" fmla="*/ 16 h 19"/>
                  <a:gd name="T8" fmla="*/ 1 w 19"/>
                  <a:gd name="T9" fmla="*/ 18 h 19"/>
                  <a:gd name="T10" fmla="*/ 1 w 19"/>
                  <a:gd name="T11" fmla="*/ 18 h 19"/>
                  <a:gd name="T12" fmla="*/ 5 w 19"/>
                  <a:gd name="T13" fmla="*/ 19 h 19"/>
                  <a:gd name="T14" fmla="*/ 5 w 19"/>
                  <a:gd name="T15" fmla="*/ 19 h 19"/>
                  <a:gd name="T16" fmla="*/ 7 w 19"/>
                  <a:gd name="T17" fmla="*/ 18 h 19"/>
                  <a:gd name="T18" fmla="*/ 18 w 19"/>
                  <a:gd name="T19" fmla="*/ 7 h 19"/>
                  <a:gd name="T20" fmla="*/ 18 w 19"/>
                  <a:gd name="T21" fmla="*/ 7 h 19"/>
                  <a:gd name="T22" fmla="*/ 19 w 19"/>
                  <a:gd name="T23" fmla="*/ 5 h 19"/>
                  <a:gd name="T24" fmla="*/ 18 w 19"/>
                  <a:gd name="T25" fmla="*/ 2 h 19"/>
                  <a:gd name="T26" fmla="*/ 18 w 19"/>
                  <a:gd name="T27" fmla="*/ 2 h 19"/>
                  <a:gd name="T28" fmla="*/ 15 w 19"/>
                  <a:gd name="T29" fmla="*/ 0 h 19"/>
                  <a:gd name="T30" fmla="*/ 12 w 19"/>
                  <a:gd name="T31" fmla="*/ 2 h 19"/>
                  <a:gd name="T32" fmla="*/ 12 w 19"/>
                  <a:gd name="T33"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12" y="2"/>
                    </a:moveTo>
                    <a:lnTo>
                      <a:pt x="1" y="12"/>
                    </a:lnTo>
                    <a:lnTo>
                      <a:pt x="1" y="12"/>
                    </a:lnTo>
                    <a:lnTo>
                      <a:pt x="0" y="16"/>
                    </a:lnTo>
                    <a:lnTo>
                      <a:pt x="1" y="18"/>
                    </a:lnTo>
                    <a:lnTo>
                      <a:pt x="1" y="18"/>
                    </a:lnTo>
                    <a:lnTo>
                      <a:pt x="5" y="19"/>
                    </a:lnTo>
                    <a:lnTo>
                      <a:pt x="5" y="19"/>
                    </a:lnTo>
                    <a:lnTo>
                      <a:pt x="7" y="18"/>
                    </a:lnTo>
                    <a:lnTo>
                      <a:pt x="18" y="7"/>
                    </a:lnTo>
                    <a:lnTo>
                      <a:pt x="18" y="7"/>
                    </a:lnTo>
                    <a:lnTo>
                      <a:pt x="19" y="5"/>
                    </a:lnTo>
                    <a:lnTo>
                      <a:pt x="18" y="2"/>
                    </a:lnTo>
                    <a:lnTo>
                      <a:pt x="18" y="2"/>
                    </a:lnTo>
                    <a:lnTo>
                      <a:pt x="15" y="0"/>
                    </a:lnTo>
                    <a:lnTo>
                      <a:pt x="12" y="2"/>
                    </a:ln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0" name="Freeform 92">
                <a:extLst>
                  <a:ext uri="{FF2B5EF4-FFF2-40B4-BE49-F238E27FC236}">
                    <a16:creationId xmlns:a16="http://schemas.microsoft.com/office/drawing/2014/main" id="{5C9BB073-C33D-4F31-98AE-79DE7D8CBDCB}"/>
                  </a:ext>
                </a:extLst>
              </p:cNvPr>
              <p:cNvSpPr>
                <a:spLocks noEditPoints="1"/>
              </p:cNvSpPr>
              <p:nvPr/>
            </p:nvSpPr>
            <p:spPr bwMode="auto">
              <a:xfrm>
                <a:off x="1958976" y="5581651"/>
                <a:ext cx="114300" cy="46038"/>
              </a:xfrm>
              <a:custGeom>
                <a:avLst/>
                <a:gdLst>
                  <a:gd name="T0" fmla="*/ 61 w 72"/>
                  <a:gd name="T1" fmla="*/ 0 h 29"/>
                  <a:gd name="T2" fmla="*/ 11 w 72"/>
                  <a:gd name="T3" fmla="*/ 0 h 29"/>
                  <a:gd name="T4" fmla="*/ 11 w 72"/>
                  <a:gd name="T5" fmla="*/ 0 h 29"/>
                  <a:gd name="T6" fmla="*/ 6 w 72"/>
                  <a:gd name="T7" fmla="*/ 0 h 29"/>
                  <a:gd name="T8" fmla="*/ 3 w 72"/>
                  <a:gd name="T9" fmla="*/ 2 h 29"/>
                  <a:gd name="T10" fmla="*/ 0 w 72"/>
                  <a:gd name="T11" fmla="*/ 6 h 29"/>
                  <a:gd name="T12" fmla="*/ 0 w 72"/>
                  <a:gd name="T13" fmla="*/ 11 h 29"/>
                  <a:gd name="T14" fmla="*/ 0 w 72"/>
                  <a:gd name="T15" fmla="*/ 18 h 29"/>
                  <a:gd name="T16" fmla="*/ 0 w 72"/>
                  <a:gd name="T17" fmla="*/ 18 h 29"/>
                  <a:gd name="T18" fmla="*/ 0 w 72"/>
                  <a:gd name="T19" fmla="*/ 22 h 29"/>
                  <a:gd name="T20" fmla="*/ 3 w 72"/>
                  <a:gd name="T21" fmla="*/ 26 h 29"/>
                  <a:gd name="T22" fmla="*/ 6 w 72"/>
                  <a:gd name="T23" fmla="*/ 28 h 29"/>
                  <a:gd name="T24" fmla="*/ 11 w 72"/>
                  <a:gd name="T25" fmla="*/ 29 h 29"/>
                  <a:gd name="T26" fmla="*/ 61 w 72"/>
                  <a:gd name="T27" fmla="*/ 29 h 29"/>
                  <a:gd name="T28" fmla="*/ 61 w 72"/>
                  <a:gd name="T29" fmla="*/ 29 h 29"/>
                  <a:gd name="T30" fmla="*/ 66 w 72"/>
                  <a:gd name="T31" fmla="*/ 28 h 29"/>
                  <a:gd name="T32" fmla="*/ 69 w 72"/>
                  <a:gd name="T33" fmla="*/ 26 h 29"/>
                  <a:gd name="T34" fmla="*/ 72 w 72"/>
                  <a:gd name="T35" fmla="*/ 22 h 29"/>
                  <a:gd name="T36" fmla="*/ 72 w 72"/>
                  <a:gd name="T37" fmla="*/ 18 h 29"/>
                  <a:gd name="T38" fmla="*/ 72 w 72"/>
                  <a:gd name="T39" fmla="*/ 11 h 29"/>
                  <a:gd name="T40" fmla="*/ 72 w 72"/>
                  <a:gd name="T41" fmla="*/ 11 h 29"/>
                  <a:gd name="T42" fmla="*/ 72 w 72"/>
                  <a:gd name="T43" fmla="*/ 6 h 29"/>
                  <a:gd name="T44" fmla="*/ 69 w 72"/>
                  <a:gd name="T45" fmla="*/ 2 h 29"/>
                  <a:gd name="T46" fmla="*/ 66 w 72"/>
                  <a:gd name="T47" fmla="*/ 0 h 29"/>
                  <a:gd name="T48" fmla="*/ 61 w 72"/>
                  <a:gd name="T49" fmla="*/ 0 h 29"/>
                  <a:gd name="T50" fmla="*/ 61 w 72"/>
                  <a:gd name="T51" fmla="*/ 0 h 29"/>
                  <a:gd name="T52" fmla="*/ 65 w 72"/>
                  <a:gd name="T53" fmla="*/ 18 h 29"/>
                  <a:gd name="T54" fmla="*/ 65 w 72"/>
                  <a:gd name="T55" fmla="*/ 18 h 29"/>
                  <a:gd name="T56" fmla="*/ 63 w 72"/>
                  <a:gd name="T57" fmla="*/ 20 h 29"/>
                  <a:gd name="T58" fmla="*/ 62 w 72"/>
                  <a:gd name="T59" fmla="*/ 21 h 29"/>
                  <a:gd name="T60" fmla="*/ 61 w 72"/>
                  <a:gd name="T61" fmla="*/ 21 h 29"/>
                  <a:gd name="T62" fmla="*/ 11 w 72"/>
                  <a:gd name="T63" fmla="*/ 21 h 29"/>
                  <a:gd name="T64" fmla="*/ 11 w 72"/>
                  <a:gd name="T65" fmla="*/ 21 h 29"/>
                  <a:gd name="T66" fmla="*/ 10 w 72"/>
                  <a:gd name="T67" fmla="*/ 21 h 29"/>
                  <a:gd name="T68" fmla="*/ 8 w 72"/>
                  <a:gd name="T69" fmla="*/ 20 h 29"/>
                  <a:gd name="T70" fmla="*/ 7 w 72"/>
                  <a:gd name="T71" fmla="*/ 18 h 29"/>
                  <a:gd name="T72" fmla="*/ 7 w 72"/>
                  <a:gd name="T73" fmla="*/ 11 h 29"/>
                  <a:gd name="T74" fmla="*/ 7 w 72"/>
                  <a:gd name="T75" fmla="*/ 11 h 29"/>
                  <a:gd name="T76" fmla="*/ 8 w 72"/>
                  <a:gd name="T77" fmla="*/ 8 h 29"/>
                  <a:gd name="T78" fmla="*/ 11 w 72"/>
                  <a:gd name="T79" fmla="*/ 7 h 29"/>
                  <a:gd name="T80" fmla="*/ 61 w 72"/>
                  <a:gd name="T81" fmla="*/ 7 h 29"/>
                  <a:gd name="T82" fmla="*/ 61 w 72"/>
                  <a:gd name="T83" fmla="*/ 7 h 29"/>
                  <a:gd name="T84" fmla="*/ 63 w 72"/>
                  <a:gd name="T85" fmla="*/ 8 h 29"/>
                  <a:gd name="T86" fmla="*/ 65 w 72"/>
                  <a:gd name="T87" fmla="*/ 11 h 29"/>
                  <a:gd name="T88" fmla="*/ 65 w 72"/>
                  <a:gd name="T8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29">
                    <a:moveTo>
                      <a:pt x="61" y="0"/>
                    </a:moveTo>
                    <a:lnTo>
                      <a:pt x="11" y="0"/>
                    </a:lnTo>
                    <a:lnTo>
                      <a:pt x="11" y="0"/>
                    </a:lnTo>
                    <a:lnTo>
                      <a:pt x="6" y="0"/>
                    </a:lnTo>
                    <a:lnTo>
                      <a:pt x="3" y="2"/>
                    </a:lnTo>
                    <a:lnTo>
                      <a:pt x="0" y="6"/>
                    </a:lnTo>
                    <a:lnTo>
                      <a:pt x="0" y="11"/>
                    </a:lnTo>
                    <a:lnTo>
                      <a:pt x="0" y="18"/>
                    </a:lnTo>
                    <a:lnTo>
                      <a:pt x="0" y="18"/>
                    </a:lnTo>
                    <a:lnTo>
                      <a:pt x="0" y="22"/>
                    </a:lnTo>
                    <a:lnTo>
                      <a:pt x="3" y="26"/>
                    </a:lnTo>
                    <a:lnTo>
                      <a:pt x="6" y="28"/>
                    </a:lnTo>
                    <a:lnTo>
                      <a:pt x="11" y="29"/>
                    </a:lnTo>
                    <a:lnTo>
                      <a:pt x="61" y="29"/>
                    </a:lnTo>
                    <a:lnTo>
                      <a:pt x="61" y="29"/>
                    </a:lnTo>
                    <a:lnTo>
                      <a:pt x="66" y="28"/>
                    </a:lnTo>
                    <a:lnTo>
                      <a:pt x="69" y="26"/>
                    </a:lnTo>
                    <a:lnTo>
                      <a:pt x="72" y="22"/>
                    </a:lnTo>
                    <a:lnTo>
                      <a:pt x="72" y="18"/>
                    </a:lnTo>
                    <a:lnTo>
                      <a:pt x="72" y="11"/>
                    </a:lnTo>
                    <a:lnTo>
                      <a:pt x="72" y="11"/>
                    </a:lnTo>
                    <a:lnTo>
                      <a:pt x="72" y="6"/>
                    </a:lnTo>
                    <a:lnTo>
                      <a:pt x="69" y="2"/>
                    </a:lnTo>
                    <a:lnTo>
                      <a:pt x="66" y="0"/>
                    </a:lnTo>
                    <a:lnTo>
                      <a:pt x="61" y="0"/>
                    </a:lnTo>
                    <a:lnTo>
                      <a:pt x="61" y="0"/>
                    </a:lnTo>
                    <a:close/>
                    <a:moveTo>
                      <a:pt x="65" y="18"/>
                    </a:moveTo>
                    <a:lnTo>
                      <a:pt x="65" y="18"/>
                    </a:lnTo>
                    <a:lnTo>
                      <a:pt x="63" y="20"/>
                    </a:lnTo>
                    <a:lnTo>
                      <a:pt x="62" y="21"/>
                    </a:lnTo>
                    <a:lnTo>
                      <a:pt x="61" y="21"/>
                    </a:lnTo>
                    <a:lnTo>
                      <a:pt x="11" y="21"/>
                    </a:lnTo>
                    <a:lnTo>
                      <a:pt x="11" y="21"/>
                    </a:lnTo>
                    <a:lnTo>
                      <a:pt x="10" y="21"/>
                    </a:lnTo>
                    <a:lnTo>
                      <a:pt x="8" y="20"/>
                    </a:lnTo>
                    <a:lnTo>
                      <a:pt x="7" y="18"/>
                    </a:lnTo>
                    <a:lnTo>
                      <a:pt x="7" y="11"/>
                    </a:lnTo>
                    <a:lnTo>
                      <a:pt x="7" y="11"/>
                    </a:lnTo>
                    <a:lnTo>
                      <a:pt x="8" y="8"/>
                    </a:lnTo>
                    <a:lnTo>
                      <a:pt x="11" y="7"/>
                    </a:lnTo>
                    <a:lnTo>
                      <a:pt x="61" y="7"/>
                    </a:lnTo>
                    <a:lnTo>
                      <a:pt x="61" y="7"/>
                    </a:lnTo>
                    <a:lnTo>
                      <a:pt x="63" y="8"/>
                    </a:lnTo>
                    <a:lnTo>
                      <a:pt x="65" y="11"/>
                    </a:lnTo>
                    <a:lnTo>
                      <a:pt x="6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1" name="Freeform 93">
                <a:extLst>
                  <a:ext uri="{FF2B5EF4-FFF2-40B4-BE49-F238E27FC236}">
                    <a16:creationId xmlns:a16="http://schemas.microsoft.com/office/drawing/2014/main" id="{295DB3D6-FD89-4975-8C93-E205845EE42F}"/>
                  </a:ext>
                </a:extLst>
              </p:cNvPr>
              <p:cNvSpPr>
                <a:spLocks noEditPoints="1"/>
              </p:cNvSpPr>
              <p:nvPr/>
            </p:nvSpPr>
            <p:spPr bwMode="auto">
              <a:xfrm>
                <a:off x="1985963" y="5434013"/>
                <a:ext cx="87313" cy="87313"/>
              </a:xfrm>
              <a:custGeom>
                <a:avLst/>
                <a:gdLst>
                  <a:gd name="T0" fmla="*/ 18 w 55"/>
                  <a:gd name="T1" fmla="*/ 55 h 55"/>
                  <a:gd name="T2" fmla="*/ 18 w 55"/>
                  <a:gd name="T3" fmla="*/ 55 h 55"/>
                  <a:gd name="T4" fmla="*/ 23 w 55"/>
                  <a:gd name="T5" fmla="*/ 55 h 55"/>
                  <a:gd name="T6" fmla="*/ 27 w 55"/>
                  <a:gd name="T7" fmla="*/ 53 h 55"/>
                  <a:gd name="T8" fmla="*/ 30 w 55"/>
                  <a:gd name="T9" fmla="*/ 52 h 55"/>
                  <a:gd name="T10" fmla="*/ 32 w 55"/>
                  <a:gd name="T11" fmla="*/ 49 h 55"/>
                  <a:gd name="T12" fmla="*/ 32 w 55"/>
                  <a:gd name="T13" fmla="*/ 49 h 55"/>
                  <a:gd name="T14" fmla="*/ 36 w 55"/>
                  <a:gd name="T15" fmla="*/ 44 h 55"/>
                  <a:gd name="T16" fmla="*/ 38 w 55"/>
                  <a:gd name="T17" fmla="*/ 38 h 55"/>
                  <a:gd name="T18" fmla="*/ 37 w 55"/>
                  <a:gd name="T19" fmla="*/ 31 h 55"/>
                  <a:gd name="T20" fmla="*/ 35 w 55"/>
                  <a:gd name="T21" fmla="*/ 25 h 55"/>
                  <a:gd name="T22" fmla="*/ 53 w 55"/>
                  <a:gd name="T23" fmla="*/ 7 h 55"/>
                  <a:gd name="T24" fmla="*/ 53 w 55"/>
                  <a:gd name="T25" fmla="*/ 7 h 55"/>
                  <a:gd name="T26" fmla="*/ 55 w 55"/>
                  <a:gd name="T27" fmla="*/ 3 h 55"/>
                  <a:gd name="T28" fmla="*/ 53 w 55"/>
                  <a:gd name="T29" fmla="*/ 1 h 55"/>
                  <a:gd name="T30" fmla="*/ 53 w 55"/>
                  <a:gd name="T31" fmla="*/ 1 h 55"/>
                  <a:gd name="T32" fmla="*/ 51 w 55"/>
                  <a:gd name="T33" fmla="*/ 0 h 55"/>
                  <a:gd name="T34" fmla="*/ 49 w 55"/>
                  <a:gd name="T35" fmla="*/ 1 h 55"/>
                  <a:gd name="T36" fmla="*/ 29 w 55"/>
                  <a:gd name="T37" fmla="*/ 20 h 55"/>
                  <a:gd name="T38" fmla="*/ 29 w 55"/>
                  <a:gd name="T39" fmla="*/ 20 h 55"/>
                  <a:gd name="T40" fmla="*/ 23 w 55"/>
                  <a:gd name="T41" fmla="*/ 17 h 55"/>
                  <a:gd name="T42" fmla="*/ 17 w 55"/>
                  <a:gd name="T43" fmla="*/ 17 h 55"/>
                  <a:gd name="T44" fmla="*/ 11 w 55"/>
                  <a:gd name="T45" fmla="*/ 18 h 55"/>
                  <a:gd name="T46" fmla="*/ 6 w 55"/>
                  <a:gd name="T47" fmla="*/ 22 h 55"/>
                  <a:gd name="T48" fmla="*/ 6 w 55"/>
                  <a:gd name="T49" fmla="*/ 22 h 55"/>
                  <a:gd name="T50" fmla="*/ 3 w 55"/>
                  <a:gd name="T51" fmla="*/ 25 h 55"/>
                  <a:gd name="T52" fmla="*/ 1 w 55"/>
                  <a:gd name="T53" fmla="*/ 29 h 55"/>
                  <a:gd name="T54" fmla="*/ 0 w 55"/>
                  <a:gd name="T55" fmla="*/ 32 h 55"/>
                  <a:gd name="T56" fmla="*/ 0 w 55"/>
                  <a:gd name="T57" fmla="*/ 36 h 55"/>
                  <a:gd name="T58" fmla="*/ 0 w 55"/>
                  <a:gd name="T59" fmla="*/ 39 h 55"/>
                  <a:gd name="T60" fmla="*/ 1 w 55"/>
                  <a:gd name="T61" fmla="*/ 43 h 55"/>
                  <a:gd name="T62" fmla="*/ 3 w 55"/>
                  <a:gd name="T63" fmla="*/ 46 h 55"/>
                  <a:gd name="T64" fmla="*/ 6 w 55"/>
                  <a:gd name="T65" fmla="*/ 49 h 55"/>
                  <a:gd name="T66" fmla="*/ 6 w 55"/>
                  <a:gd name="T67" fmla="*/ 49 h 55"/>
                  <a:gd name="T68" fmla="*/ 8 w 55"/>
                  <a:gd name="T69" fmla="*/ 52 h 55"/>
                  <a:gd name="T70" fmla="*/ 11 w 55"/>
                  <a:gd name="T71" fmla="*/ 53 h 55"/>
                  <a:gd name="T72" fmla="*/ 15 w 55"/>
                  <a:gd name="T73" fmla="*/ 55 h 55"/>
                  <a:gd name="T74" fmla="*/ 18 w 55"/>
                  <a:gd name="T75" fmla="*/ 55 h 55"/>
                  <a:gd name="T76" fmla="*/ 18 w 55"/>
                  <a:gd name="T77" fmla="*/ 55 h 55"/>
                  <a:gd name="T78" fmla="*/ 13 w 55"/>
                  <a:gd name="T79" fmla="*/ 29 h 55"/>
                  <a:gd name="T80" fmla="*/ 13 w 55"/>
                  <a:gd name="T81" fmla="*/ 29 h 55"/>
                  <a:gd name="T82" fmla="*/ 15 w 55"/>
                  <a:gd name="T83" fmla="*/ 27 h 55"/>
                  <a:gd name="T84" fmla="*/ 18 w 55"/>
                  <a:gd name="T85" fmla="*/ 27 h 55"/>
                  <a:gd name="T86" fmla="*/ 18 w 55"/>
                  <a:gd name="T87" fmla="*/ 27 h 55"/>
                  <a:gd name="T88" fmla="*/ 23 w 55"/>
                  <a:gd name="T89" fmla="*/ 27 h 55"/>
                  <a:gd name="T90" fmla="*/ 25 w 55"/>
                  <a:gd name="T91" fmla="*/ 29 h 55"/>
                  <a:gd name="T92" fmla="*/ 25 w 55"/>
                  <a:gd name="T93" fmla="*/ 29 h 55"/>
                  <a:gd name="T94" fmla="*/ 28 w 55"/>
                  <a:gd name="T95" fmla="*/ 32 h 55"/>
                  <a:gd name="T96" fmla="*/ 29 w 55"/>
                  <a:gd name="T97" fmla="*/ 36 h 55"/>
                  <a:gd name="T98" fmla="*/ 28 w 55"/>
                  <a:gd name="T99" fmla="*/ 39 h 55"/>
                  <a:gd name="T100" fmla="*/ 25 w 55"/>
                  <a:gd name="T101" fmla="*/ 43 h 55"/>
                  <a:gd name="T102" fmla="*/ 25 w 55"/>
                  <a:gd name="T103" fmla="*/ 43 h 55"/>
                  <a:gd name="T104" fmla="*/ 23 w 55"/>
                  <a:gd name="T105" fmla="*/ 44 h 55"/>
                  <a:gd name="T106" fmla="*/ 18 w 55"/>
                  <a:gd name="T107" fmla="*/ 45 h 55"/>
                  <a:gd name="T108" fmla="*/ 15 w 55"/>
                  <a:gd name="T109" fmla="*/ 44 h 55"/>
                  <a:gd name="T110" fmla="*/ 13 w 55"/>
                  <a:gd name="T111" fmla="*/ 43 h 55"/>
                  <a:gd name="T112" fmla="*/ 13 w 55"/>
                  <a:gd name="T113" fmla="*/ 43 h 55"/>
                  <a:gd name="T114" fmla="*/ 10 w 55"/>
                  <a:gd name="T115" fmla="*/ 39 h 55"/>
                  <a:gd name="T116" fmla="*/ 9 w 55"/>
                  <a:gd name="T117" fmla="*/ 36 h 55"/>
                  <a:gd name="T118" fmla="*/ 10 w 55"/>
                  <a:gd name="T119" fmla="*/ 32 h 55"/>
                  <a:gd name="T120" fmla="*/ 13 w 55"/>
                  <a:gd name="T121" fmla="*/ 29 h 55"/>
                  <a:gd name="T122" fmla="*/ 13 w 55"/>
                  <a:gd name="T123"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55">
                    <a:moveTo>
                      <a:pt x="18" y="55"/>
                    </a:moveTo>
                    <a:lnTo>
                      <a:pt x="18" y="55"/>
                    </a:lnTo>
                    <a:lnTo>
                      <a:pt x="23" y="55"/>
                    </a:lnTo>
                    <a:lnTo>
                      <a:pt x="27" y="53"/>
                    </a:lnTo>
                    <a:lnTo>
                      <a:pt x="30" y="52"/>
                    </a:lnTo>
                    <a:lnTo>
                      <a:pt x="32" y="49"/>
                    </a:lnTo>
                    <a:lnTo>
                      <a:pt x="32" y="49"/>
                    </a:lnTo>
                    <a:lnTo>
                      <a:pt x="36" y="44"/>
                    </a:lnTo>
                    <a:lnTo>
                      <a:pt x="38" y="38"/>
                    </a:lnTo>
                    <a:lnTo>
                      <a:pt x="37" y="31"/>
                    </a:lnTo>
                    <a:lnTo>
                      <a:pt x="35" y="25"/>
                    </a:lnTo>
                    <a:lnTo>
                      <a:pt x="53" y="7"/>
                    </a:lnTo>
                    <a:lnTo>
                      <a:pt x="53" y="7"/>
                    </a:lnTo>
                    <a:lnTo>
                      <a:pt x="55" y="3"/>
                    </a:lnTo>
                    <a:lnTo>
                      <a:pt x="53" y="1"/>
                    </a:lnTo>
                    <a:lnTo>
                      <a:pt x="53" y="1"/>
                    </a:lnTo>
                    <a:lnTo>
                      <a:pt x="51" y="0"/>
                    </a:lnTo>
                    <a:lnTo>
                      <a:pt x="49" y="1"/>
                    </a:lnTo>
                    <a:lnTo>
                      <a:pt x="29" y="20"/>
                    </a:lnTo>
                    <a:lnTo>
                      <a:pt x="29" y="20"/>
                    </a:lnTo>
                    <a:lnTo>
                      <a:pt x="23" y="17"/>
                    </a:lnTo>
                    <a:lnTo>
                      <a:pt x="17" y="17"/>
                    </a:lnTo>
                    <a:lnTo>
                      <a:pt x="11" y="18"/>
                    </a:lnTo>
                    <a:lnTo>
                      <a:pt x="6" y="22"/>
                    </a:lnTo>
                    <a:lnTo>
                      <a:pt x="6" y="22"/>
                    </a:lnTo>
                    <a:lnTo>
                      <a:pt x="3" y="25"/>
                    </a:lnTo>
                    <a:lnTo>
                      <a:pt x="1" y="29"/>
                    </a:lnTo>
                    <a:lnTo>
                      <a:pt x="0" y="32"/>
                    </a:lnTo>
                    <a:lnTo>
                      <a:pt x="0" y="36"/>
                    </a:lnTo>
                    <a:lnTo>
                      <a:pt x="0" y="39"/>
                    </a:lnTo>
                    <a:lnTo>
                      <a:pt x="1" y="43"/>
                    </a:lnTo>
                    <a:lnTo>
                      <a:pt x="3" y="46"/>
                    </a:lnTo>
                    <a:lnTo>
                      <a:pt x="6" y="49"/>
                    </a:lnTo>
                    <a:lnTo>
                      <a:pt x="6" y="49"/>
                    </a:lnTo>
                    <a:lnTo>
                      <a:pt x="8" y="52"/>
                    </a:lnTo>
                    <a:lnTo>
                      <a:pt x="11" y="53"/>
                    </a:lnTo>
                    <a:lnTo>
                      <a:pt x="15" y="55"/>
                    </a:lnTo>
                    <a:lnTo>
                      <a:pt x="18" y="55"/>
                    </a:lnTo>
                    <a:lnTo>
                      <a:pt x="18" y="55"/>
                    </a:lnTo>
                    <a:close/>
                    <a:moveTo>
                      <a:pt x="13" y="29"/>
                    </a:moveTo>
                    <a:lnTo>
                      <a:pt x="13" y="29"/>
                    </a:lnTo>
                    <a:lnTo>
                      <a:pt x="15" y="27"/>
                    </a:lnTo>
                    <a:lnTo>
                      <a:pt x="18" y="27"/>
                    </a:lnTo>
                    <a:lnTo>
                      <a:pt x="18" y="27"/>
                    </a:lnTo>
                    <a:lnTo>
                      <a:pt x="23" y="27"/>
                    </a:lnTo>
                    <a:lnTo>
                      <a:pt x="25" y="29"/>
                    </a:lnTo>
                    <a:lnTo>
                      <a:pt x="25" y="29"/>
                    </a:lnTo>
                    <a:lnTo>
                      <a:pt x="28" y="32"/>
                    </a:lnTo>
                    <a:lnTo>
                      <a:pt x="29" y="36"/>
                    </a:lnTo>
                    <a:lnTo>
                      <a:pt x="28" y="39"/>
                    </a:lnTo>
                    <a:lnTo>
                      <a:pt x="25" y="43"/>
                    </a:lnTo>
                    <a:lnTo>
                      <a:pt x="25" y="43"/>
                    </a:lnTo>
                    <a:lnTo>
                      <a:pt x="23" y="44"/>
                    </a:lnTo>
                    <a:lnTo>
                      <a:pt x="18" y="45"/>
                    </a:lnTo>
                    <a:lnTo>
                      <a:pt x="15" y="44"/>
                    </a:lnTo>
                    <a:lnTo>
                      <a:pt x="13" y="43"/>
                    </a:lnTo>
                    <a:lnTo>
                      <a:pt x="13" y="43"/>
                    </a:lnTo>
                    <a:lnTo>
                      <a:pt x="10" y="39"/>
                    </a:lnTo>
                    <a:lnTo>
                      <a:pt x="9" y="36"/>
                    </a:lnTo>
                    <a:lnTo>
                      <a:pt x="10" y="32"/>
                    </a:lnTo>
                    <a:lnTo>
                      <a:pt x="13" y="29"/>
                    </a:lnTo>
                    <a:lnTo>
                      <a:pt x="13"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sp>
          <p:nvSpPr>
            <p:cNvPr id="32" name="Freeform 98">
              <a:extLst>
                <a:ext uri="{FF2B5EF4-FFF2-40B4-BE49-F238E27FC236}">
                  <a16:creationId xmlns:a16="http://schemas.microsoft.com/office/drawing/2014/main" id="{42256C82-702E-4908-B5F7-4D80411E0FA6}"/>
                </a:ext>
              </a:extLst>
            </p:cNvPr>
            <p:cNvSpPr>
              <a:spLocks noEditPoints="1"/>
            </p:cNvSpPr>
            <p:nvPr/>
          </p:nvSpPr>
          <p:spPr bwMode="auto">
            <a:xfrm>
              <a:off x="2608816" y="5059049"/>
              <a:ext cx="356622" cy="271938"/>
            </a:xfrm>
            <a:custGeom>
              <a:avLst/>
              <a:gdLst>
                <a:gd name="T0" fmla="*/ 265 w 299"/>
                <a:gd name="T1" fmla="*/ 113 h 228"/>
                <a:gd name="T2" fmla="*/ 254 w 299"/>
                <a:gd name="T3" fmla="*/ 113 h 228"/>
                <a:gd name="T4" fmla="*/ 250 w 299"/>
                <a:gd name="T5" fmla="*/ 93 h 228"/>
                <a:gd name="T6" fmla="*/ 215 w 299"/>
                <a:gd name="T7" fmla="*/ 60 h 228"/>
                <a:gd name="T8" fmla="*/ 148 w 299"/>
                <a:gd name="T9" fmla="*/ 5 h 228"/>
                <a:gd name="T10" fmla="*/ 70 w 299"/>
                <a:gd name="T11" fmla="*/ 8 h 228"/>
                <a:gd name="T12" fmla="*/ 9 w 299"/>
                <a:gd name="T13" fmla="*/ 69 h 228"/>
                <a:gd name="T14" fmla="*/ 4 w 299"/>
                <a:gd name="T15" fmla="*/ 147 h 228"/>
                <a:gd name="T16" fmla="*/ 59 w 299"/>
                <a:gd name="T17" fmla="*/ 214 h 228"/>
                <a:gd name="T18" fmla="*/ 136 w 299"/>
                <a:gd name="T19" fmla="*/ 225 h 228"/>
                <a:gd name="T20" fmla="*/ 205 w 299"/>
                <a:gd name="T21" fmla="*/ 181 h 228"/>
                <a:gd name="T22" fmla="*/ 250 w 299"/>
                <a:gd name="T23" fmla="*/ 141 h 228"/>
                <a:gd name="T24" fmla="*/ 256 w 299"/>
                <a:gd name="T25" fmla="*/ 137 h 228"/>
                <a:gd name="T26" fmla="*/ 277 w 299"/>
                <a:gd name="T27" fmla="*/ 141 h 228"/>
                <a:gd name="T28" fmla="*/ 293 w 299"/>
                <a:gd name="T29" fmla="*/ 141 h 228"/>
                <a:gd name="T30" fmla="*/ 299 w 299"/>
                <a:gd name="T31" fmla="*/ 137 h 228"/>
                <a:gd name="T32" fmla="*/ 114 w 299"/>
                <a:gd name="T33" fmla="*/ 221 h 228"/>
                <a:gd name="T34" fmla="*/ 38 w 299"/>
                <a:gd name="T35" fmla="*/ 189 h 228"/>
                <a:gd name="T36" fmla="*/ 7 w 299"/>
                <a:gd name="T37" fmla="*/ 113 h 228"/>
                <a:gd name="T38" fmla="*/ 31 w 299"/>
                <a:gd name="T39" fmla="*/ 45 h 228"/>
                <a:gd name="T40" fmla="*/ 102 w 299"/>
                <a:gd name="T41" fmla="*/ 7 h 228"/>
                <a:gd name="T42" fmla="*/ 174 w 299"/>
                <a:gd name="T43" fmla="*/ 24 h 228"/>
                <a:gd name="T44" fmla="*/ 218 w 299"/>
                <a:gd name="T45" fmla="*/ 92 h 228"/>
                <a:gd name="T46" fmla="*/ 192 w 299"/>
                <a:gd name="T47" fmla="*/ 81 h 228"/>
                <a:gd name="T48" fmla="*/ 147 w 299"/>
                <a:gd name="T49" fmla="*/ 35 h 228"/>
                <a:gd name="T50" fmla="*/ 88 w 299"/>
                <a:gd name="T51" fmla="*/ 31 h 228"/>
                <a:gd name="T52" fmla="*/ 38 w 299"/>
                <a:gd name="T53" fmla="*/ 72 h 228"/>
                <a:gd name="T54" fmla="*/ 30 w 299"/>
                <a:gd name="T55" fmla="*/ 131 h 228"/>
                <a:gd name="T56" fmla="*/ 66 w 299"/>
                <a:gd name="T57" fmla="*/ 185 h 228"/>
                <a:gd name="T58" fmla="*/ 122 w 299"/>
                <a:gd name="T59" fmla="*/ 199 h 228"/>
                <a:gd name="T60" fmla="*/ 177 w 299"/>
                <a:gd name="T61" fmla="*/ 171 h 228"/>
                <a:gd name="T62" fmla="*/ 220 w 299"/>
                <a:gd name="T63" fmla="*/ 121 h 228"/>
                <a:gd name="T64" fmla="*/ 194 w 299"/>
                <a:gd name="T65" fmla="*/ 185 h 228"/>
                <a:gd name="T66" fmla="*/ 125 w 299"/>
                <a:gd name="T67" fmla="*/ 221 h 228"/>
                <a:gd name="T68" fmla="*/ 154 w 299"/>
                <a:gd name="T69" fmla="*/ 74 h 228"/>
                <a:gd name="T70" fmla="*/ 81 w 299"/>
                <a:gd name="T71" fmla="*/ 67 h 228"/>
                <a:gd name="T72" fmla="*/ 61 w 299"/>
                <a:gd name="T73" fmla="*/ 135 h 228"/>
                <a:gd name="T74" fmla="*/ 125 w 299"/>
                <a:gd name="T75" fmla="*/ 169 h 228"/>
                <a:gd name="T76" fmla="*/ 192 w 299"/>
                <a:gd name="T77" fmla="*/ 121 h 228"/>
                <a:gd name="T78" fmla="*/ 142 w 299"/>
                <a:gd name="T79" fmla="*/ 187 h 228"/>
                <a:gd name="T80" fmla="*/ 84 w 299"/>
                <a:gd name="T81" fmla="*/ 186 h 228"/>
                <a:gd name="T82" fmla="*/ 42 w 299"/>
                <a:gd name="T83" fmla="*/ 144 h 228"/>
                <a:gd name="T84" fmla="*/ 38 w 299"/>
                <a:gd name="T85" fmla="*/ 90 h 228"/>
                <a:gd name="T86" fmla="*/ 77 w 299"/>
                <a:gd name="T87" fmla="*/ 44 h 228"/>
                <a:gd name="T88" fmla="*/ 129 w 299"/>
                <a:gd name="T89" fmla="*/ 36 h 228"/>
                <a:gd name="T90" fmla="*/ 178 w 299"/>
                <a:gd name="T91" fmla="*/ 70 h 228"/>
                <a:gd name="T92" fmla="*/ 142 w 299"/>
                <a:gd name="T93" fmla="*/ 113 h 228"/>
                <a:gd name="T94" fmla="*/ 120 w 299"/>
                <a:gd name="T95" fmla="*/ 85 h 228"/>
                <a:gd name="T96" fmla="*/ 87 w 299"/>
                <a:gd name="T97" fmla="*/ 103 h 228"/>
                <a:gd name="T98" fmla="*/ 98 w 299"/>
                <a:gd name="T99" fmla="*/ 138 h 228"/>
                <a:gd name="T100" fmla="*/ 132 w 299"/>
                <a:gd name="T101" fmla="*/ 137 h 228"/>
                <a:gd name="T102" fmla="*/ 157 w 299"/>
                <a:gd name="T103" fmla="*/ 138 h 228"/>
                <a:gd name="T104" fmla="*/ 104 w 299"/>
                <a:gd name="T105" fmla="*/ 162 h 228"/>
                <a:gd name="T106" fmla="*/ 64 w 299"/>
                <a:gd name="T107" fmla="*/ 113 h 228"/>
                <a:gd name="T108" fmla="*/ 114 w 299"/>
                <a:gd name="T109" fmla="*/ 64 h 228"/>
                <a:gd name="T110" fmla="*/ 163 w 299"/>
                <a:gd name="T111" fmla="*/ 104 h 228"/>
                <a:gd name="T112" fmla="*/ 120 w 299"/>
                <a:gd name="T113" fmla="*/ 134 h 228"/>
                <a:gd name="T114" fmla="*/ 94 w 299"/>
                <a:gd name="T115" fmla="*/ 121 h 228"/>
                <a:gd name="T116" fmla="*/ 101 w 299"/>
                <a:gd name="T117" fmla="*/ 96 h 228"/>
                <a:gd name="T118" fmla="*/ 129 w 299"/>
                <a:gd name="T119" fmla="*/ 98 h 228"/>
                <a:gd name="T120" fmla="*/ 113 w 299"/>
                <a:gd name="T121" fmla="*/ 11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9" h="228">
                  <a:moveTo>
                    <a:pt x="298" y="93"/>
                  </a:moveTo>
                  <a:lnTo>
                    <a:pt x="298" y="93"/>
                  </a:lnTo>
                  <a:lnTo>
                    <a:pt x="295" y="92"/>
                  </a:lnTo>
                  <a:lnTo>
                    <a:pt x="293" y="93"/>
                  </a:lnTo>
                  <a:lnTo>
                    <a:pt x="275" y="113"/>
                  </a:lnTo>
                  <a:lnTo>
                    <a:pt x="275" y="113"/>
                  </a:lnTo>
                  <a:lnTo>
                    <a:pt x="274" y="113"/>
                  </a:lnTo>
                  <a:lnTo>
                    <a:pt x="265" y="113"/>
                  </a:lnTo>
                  <a:lnTo>
                    <a:pt x="277" y="98"/>
                  </a:lnTo>
                  <a:lnTo>
                    <a:pt x="277" y="98"/>
                  </a:lnTo>
                  <a:lnTo>
                    <a:pt x="278" y="96"/>
                  </a:lnTo>
                  <a:lnTo>
                    <a:pt x="277" y="93"/>
                  </a:lnTo>
                  <a:lnTo>
                    <a:pt x="277" y="93"/>
                  </a:lnTo>
                  <a:lnTo>
                    <a:pt x="274" y="92"/>
                  </a:lnTo>
                  <a:lnTo>
                    <a:pt x="271" y="93"/>
                  </a:lnTo>
                  <a:lnTo>
                    <a:pt x="254" y="113"/>
                  </a:lnTo>
                  <a:lnTo>
                    <a:pt x="243" y="113"/>
                  </a:lnTo>
                  <a:lnTo>
                    <a:pt x="256" y="98"/>
                  </a:lnTo>
                  <a:lnTo>
                    <a:pt x="256" y="98"/>
                  </a:lnTo>
                  <a:lnTo>
                    <a:pt x="257" y="96"/>
                  </a:lnTo>
                  <a:lnTo>
                    <a:pt x="256" y="93"/>
                  </a:lnTo>
                  <a:lnTo>
                    <a:pt x="256" y="93"/>
                  </a:lnTo>
                  <a:lnTo>
                    <a:pt x="253" y="92"/>
                  </a:lnTo>
                  <a:lnTo>
                    <a:pt x="250" y="93"/>
                  </a:lnTo>
                  <a:lnTo>
                    <a:pt x="233" y="113"/>
                  </a:lnTo>
                  <a:lnTo>
                    <a:pt x="227" y="113"/>
                  </a:lnTo>
                  <a:lnTo>
                    <a:pt x="227" y="113"/>
                  </a:lnTo>
                  <a:lnTo>
                    <a:pt x="227" y="102"/>
                  </a:lnTo>
                  <a:lnTo>
                    <a:pt x="225" y="90"/>
                  </a:lnTo>
                  <a:lnTo>
                    <a:pt x="223" y="79"/>
                  </a:lnTo>
                  <a:lnTo>
                    <a:pt x="219" y="69"/>
                  </a:lnTo>
                  <a:lnTo>
                    <a:pt x="215" y="60"/>
                  </a:lnTo>
                  <a:lnTo>
                    <a:pt x="209" y="50"/>
                  </a:lnTo>
                  <a:lnTo>
                    <a:pt x="202" y="41"/>
                  </a:lnTo>
                  <a:lnTo>
                    <a:pt x="195" y="33"/>
                  </a:lnTo>
                  <a:lnTo>
                    <a:pt x="187" y="26"/>
                  </a:lnTo>
                  <a:lnTo>
                    <a:pt x="177" y="19"/>
                  </a:lnTo>
                  <a:lnTo>
                    <a:pt x="168" y="13"/>
                  </a:lnTo>
                  <a:lnTo>
                    <a:pt x="158" y="8"/>
                  </a:lnTo>
                  <a:lnTo>
                    <a:pt x="148" y="5"/>
                  </a:lnTo>
                  <a:lnTo>
                    <a:pt x="136" y="2"/>
                  </a:lnTo>
                  <a:lnTo>
                    <a:pt x="126" y="0"/>
                  </a:lnTo>
                  <a:lnTo>
                    <a:pt x="114" y="0"/>
                  </a:lnTo>
                  <a:lnTo>
                    <a:pt x="114" y="0"/>
                  </a:lnTo>
                  <a:lnTo>
                    <a:pt x="102" y="0"/>
                  </a:lnTo>
                  <a:lnTo>
                    <a:pt x="91" y="2"/>
                  </a:lnTo>
                  <a:lnTo>
                    <a:pt x="80" y="5"/>
                  </a:lnTo>
                  <a:lnTo>
                    <a:pt x="70" y="8"/>
                  </a:lnTo>
                  <a:lnTo>
                    <a:pt x="59" y="13"/>
                  </a:lnTo>
                  <a:lnTo>
                    <a:pt x="50" y="19"/>
                  </a:lnTo>
                  <a:lnTo>
                    <a:pt x="42" y="26"/>
                  </a:lnTo>
                  <a:lnTo>
                    <a:pt x="33" y="33"/>
                  </a:lnTo>
                  <a:lnTo>
                    <a:pt x="25" y="41"/>
                  </a:lnTo>
                  <a:lnTo>
                    <a:pt x="19" y="50"/>
                  </a:lnTo>
                  <a:lnTo>
                    <a:pt x="14" y="60"/>
                  </a:lnTo>
                  <a:lnTo>
                    <a:pt x="9" y="69"/>
                  </a:lnTo>
                  <a:lnTo>
                    <a:pt x="4" y="79"/>
                  </a:lnTo>
                  <a:lnTo>
                    <a:pt x="2" y="91"/>
                  </a:lnTo>
                  <a:lnTo>
                    <a:pt x="0" y="102"/>
                  </a:lnTo>
                  <a:lnTo>
                    <a:pt x="0" y="113"/>
                  </a:lnTo>
                  <a:lnTo>
                    <a:pt x="0" y="113"/>
                  </a:lnTo>
                  <a:lnTo>
                    <a:pt x="0" y="125"/>
                  </a:lnTo>
                  <a:lnTo>
                    <a:pt x="2" y="137"/>
                  </a:lnTo>
                  <a:lnTo>
                    <a:pt x="4" y="147"/>
                  </a:lnTo>
                  <a:lnTo>
                    <a:pt x="9" y="158"/>
                  </a:lnTo>
                  <a:lnTo>
                    <a:pt x="14" y="168"/>
                  </a:lnTo>
                  <a:lnTo>
                    <a:pt x="19" y="178"/>
                  </a:lnTo>
                  <a:lnTo>
                    <a:pt x="25" y="186"/>
                  </a:lnTo>
                  <a:lnTo>
                    <a:pt x="33" y="194"/>
                  </a:lnTo>
                  <a:lnTo>
                    <a:pt x="42" y="202"/>
                  </a:lnTo>
                  <a:lnTo>
                    <a:pt x="50" y="208"/>
                  </a:lnTo>
                  <a:lnTo>
                    <a:pt x="59" y="214"/>
                  </a:lnTo>
                  <a:lnTo>
                    <a:pt x="70" y="218"/>
                  </a:lnTo>
                  <a:lnTo>
                    <a:pt x="80" y="223"/>
                  </a:lnTo>
                  <a:lnTo>
                    <a:pt x="91" y="225"/>
                  </a:lnTo>
                  <a:lnTo>
                    <a:pt x="102" y="228"/>
                  </a:lnTo>
                  <a:lnTo>
                    <a:pt x="114" y="228"/>
                  </a:lnTo>
                  <a:lnTo>
                    <a:pt x="114" y="228"/>
                  </a:lnTo>
                  <a:lnTo>
                    <a:pt x="125" y="228"/>
                  </a:lnTo>
                  <a:lnTo>
                    <a:pt x="136" y="225"/>
                  </a:lnTo>
                  <a:lnTo>
                    <a:pt x="147" y="223"/>
                  </a:lnTo>
                  <a:lnTo>
                    <a:pt x="156" y="220"/>
                  </a:lnTo>
                  <a:lnTo>
                    <a:pt x="167" y="215"/>
                  </a:lnTo>
                  <a:lnTo>
                    <a:pt x="175" y="210"/>
                  </a:lnTo>
                  <a:lnTo>
                    <a:pt x="184" y="203"/>
                  </a:lnTo>
                  <a:lnTo>
                    <a:pt x="192" y="196"/>
                  </a:lnTo>
                  <a:lnTo>
                    <a:pt x="199" y="189"/>
                  </a:lnTo>
                  <a:lnTo>
                    <a:pt x="205" y="181"/>
                  </a:lnTo>
                  <a:lnTo>
                    <a:pt x="211" y="172"/>
                  </a:lnTo>
                  <a:lnTo>
                    <a:pt x="217" y="162"/>
                  </a:lnTo>
                  <a:lnTo>
                    <a:pt x="220" y="153"/>
                  </a:lnTo>
                  <a:lnTo>
                    <a:pt x="224" y="142"/>
                  </a:lnTo>
                  <a:lnTo>
                    <a:pt x="226" y="132"/>
                  </a:lnTo>
                  <a:lnTo>
                    <a:pt x="227" y="121"/>
                  </a:lnTo>
                  <a:lnTo>
                    <a:pt x="233" y="121"/>
                  </a:lnTo>
                  <a:lnTo>
                    <a:pt x="250" y="141"/>
                  </a:lnTo>
                  <a:lnTo>
                    <a:pt x="250" y="141"/>
                  </a:lnTo>
                  <a:lnTo>
                    <a:pt x="251" y="142"/>
                  </a:lnTo>
                  <a:lnTo>
                    <a:pt x="253" y="142"/>
                  </a:lnTo>
                  <a:lnTo>
                    <a:pt x="253" y="142"/>
                  </a:lnTo>
                  <a:lnTo>
                    <a:pt x="256" y="141"/>
                  </a:lnTo>
                  <a:lnTo>
                    <a:pt x="256" y="141"/>
                  </a:lnTo>
                  <a:lnTo>
                    <a:pt x="257" y="139"/>
                  </a:lnTo>
                  <a:lnTo>
                    <a:pt x="256" y="137"/>
                  </a:lnTo>
                  <a:lnTo>
                    <a:pt x="243" y="121"/>
                  </a:lnTo>
                  <a:lnTo>
                    <a:pt x="254" y="121"/>
                  </a:lnTo>
                  <a:lnTo>
                    <a:pt x="271" y="141"/>
                  </a:lnTo>
                  <a:lnTo>
                    <a:pt x="271" y="141"/>
                  </a:lnTo>
                  <a:lnTo>
                    <a:pt x="273" y="142"/>
                  </a:lnTo>
                  <a:lnTo>
                    <a:pt x="274" y="142"/>
                  </a:lnTo>
                  <a:lnTo>
                    <a:pt x="274" y="142"/>
                  </a:lnTo>
                  <a:lnTo>
                    <a:pt x="277" y="141"/>
                  </a:lnTo>
                  <a:lnTo>
                    <a:pt x="277" y="141"/>
                  </a:lnTo>
                  <a:lnTo>
                    <a:pt x="278" y="139"/>
                  </a:lnTo>
                  <a:lnTo>
                    <a:pt x="277" y="137"/>
                  </a:lnTo>
                  <a:lnTo>
                    <a:pt x="265" y="121"/>
                  </a:lnTo>
                  <a:lnTo>
                    <a:pt x="274" y="121"/>
                  </a:lnTo>
                  <a:lnTo>
                    <a:pt x="274" y="121"/>
                  </a:lnTo>
                  <a:lnTo>
                    <a:pt x="275" y="120"/>
                  </a:lnTo>
                  <a:lnTo>
                    <a:pt x="293" y="141"/>
                  </a:lnTo>
                  <a:lnTo>
                    <a:pt x="293" y="141"/>
                  </a:lnTo>
                  <a:lnTo>
                    <a:pt x="294" y="142"/>
                  </a:lnTo>
                  <a:lnTo>
                    <a:pt x="295" y="142"/>
                  </a:lnTo>
                  <a:lnTo>
                    <a:pt x="295" y="142"/>
                  </a:lnTo>
                  <a:lnTo>
                    <a:pt x="298" y="141"/>
                  </a:lnTo>
                  <a:lnTo>
                    <a:pt x="298" y="141"/>
                  </a:lnTo>
                  <a:lnTo>
                    <a:pt x="299" y="139"/>
                  </a:lnTo>
                  <a:lnTo>
                    <a:pt x="299" y="137"/>
                  </a:lnTo>
                  <a:lnTo>
                    <a:pt x="282" y="117"/>
                  </a:lnTo>
                  <a:lnTo>
                    <a:pt x="299" y="98"/>
                  </a:lnTo>
                  <a:lnTo>
                    <a:pt x="299" y="98"/>
                  </a:lnTo>
                  <a:lnTo>
                    <a:pt x="299" y="96"/>
                  </a:lnTo>
                  <a:lnTo>
                    <a:pt x="298" y="93"/>
                  </a:lnTo>
                  <a:lnTo>
                    <a:pt x="298" y="93"/>
                  </a:lnTo>
                  <a:close/>
                  <a:moveTo>
                    <a:pt x="114" y="221"/>
                  </a:moveTo>
                  <a:lnTo>
                    <a:pt x="114" y="221"/>
                  </a:lnTo>
                  <a:lnTo>
                    <a:pt x="102" y="220"/>
                  </a:lnTo>
                  <a:lnTo>
                    <a:pt x="92" y="218"/>
                  </a:lnTo>
                  <a:lnTo>
                    <a:pt x="81" y="216"/>
                  </a:lnTo>
                  <a:lnTo>
                    <a:pt x="72" y="213"/>
                  </a:lnTo>
                  <a:lnTo>
                    <a:pt x="63" y="208"/>
                  </a:lnTo>
                  <a:lnTo>
                    <a:pt x="53" y="202"/>
                  </a:lnTo>
                  <a:lnTo>
                    <a:pt x="45" y="196"/>
                  </a:lnTo>
                  <a:lnTo>
                    <a:pt x="38" y="189"/>
                  </a:lnTo>
                  <a:lnTo>
                    <a:pt x="31" y="182"/>
                  </a:lnTo>
                  <a:lnTo>
                    <a:pt x="25" y="174"/>
                  </a:lnTo>
                  <a:lnTo>
                    <a:pt x="19" y="165"/>
                  </a:lnTo>
                  <a:lnTo>
                    <a:pt x="15" y="155"/>
                  </a:lnTo>
                  <a:lnTo>
                    <a:pt x="11" y="146"/>
                  </a:lnTo>
                  <a:lnTo>
                    <a:pt x="9" y="135"/>
                  </a:lnTo>
                  <a:lnTo>
                    <a:pt x="8" y="125"/>
                  </a:lnTo>
                  <a:lnTo>
                    <a:pt x="7" y="113"/>
                  </a:lnTo>
                  <a:lnTo>
                    <a:pt x="7" y="113"/>
                  </a:lnTo>
                  <a:lnTo>
                    <a:pt x="8" y="103"/>
                  </a:lnTo>
                  <a:lnTo>
                    <a:pt x="9" y="92"/>
                  </a:lnTo>
                  <a:lnTo>
                    <a:pt x="11" y="82"/>
                  </a:lnTo>
                  <a:lnTo>
                    <a:pt x="15" y="72"/>
                  </a:lnTo>
                  <a:lnTo>
                    <a:pt x="19" y="63"/>
                  </a:lnTo>
                  <a:lnTo>
                    <a:pt x="25" y="54"/>
                  </a:lnTo>
                  <a:lnTo>
                    <a:pt x="31" y="45"/>
                  </a:lnTo>
                  <a:lnTo>
                    <a:pt x="38" y="38"/>
                  </a:lnTo>
                  <a:lnTo>
                    <a:pt x="45" y="31"/>
                  </a:lnTo>
                  <a:lnTo>
                    <a:pt x="53" y="24"/>
                  </a:lnTo>
                  <a:lnTo>
                    <a:pt x="63" y="20"/>
                  </a:lnTo>
                  <a:lnTo>
                    <a:pt x="72" y="15"/>
                  </a:lnTo>
                  <a:lnTo>
                    <a:pt x="81" y="12"/>
                  </a:lnTo>
                  <a:lnTo>
                    <a:pt x="92" y="9"/>
                  </a:lnTo>
                  <a:lnTo>
                    <a:pt x="102" y="7"/>
                  </a:lnTo>
                  <a:lnTo>
                    <a:pt x="114" y="7"/>
                  </a:lnTo>
                  <a:lnTo>
                    <a:pt x="114" y="7"/>
                  </a:lnTo>
                  <a:lnTo>
                    <a:pt x="125" y="7"/>
                  </a:lnTo>
                  <a:lnTo>
                    <a:pt x="135" y="9"/>
                  </a:lnTo>
                  <a:lnTo>
                    <a:pt x="146" y="12"/>
                  </a:lnTo>
                  <a:lnTo>
                    <a:pt x="155" y="15"/>
                  </a:lnTo>
                  <a:lnTo>
                    <a:pt x="164" y="20"/>
                  </a:lnTo>
                  <a:lnTo>
                    <a:pt x="174" y="24"/>
                  </a:lnTo>
                  <a:lnTo>
                    <a:pt x="182" y="31"/>
                  </a:lnTo>
                  <a:lnTo>
                    <a:pt x="189" y="37"/>
                  </a:lnTo>
                  <a:lnTo>
                    <a:pt x="196" y="45"/>
                  </a:lnTo>
                  <a:lnTo>
                    <a:pt x="203" y="54"/>
                  </a:lnTo>
                  <a:lnTo>
                    <a:pt x="208" y="63"/>
                  </a:lnTo>
                  <a:lnTo>
                    <a:pt x="212" y="72"/>
                  </a:lnTo>
                  <a:lnTo>
                    <a:pt x="216" y="82"/>
                  </a:lnTo>
                  <a:lnTo>
                    <a:pt x="218" y="92"/>
                  </a:lnTo>
                  <a:lnTo>
                    <a:pt x="220" y="103"/>
                  </a:lnTo>
                  <a:lnTo>
                    <a:pt x="220" y="113"/>
                  </a:lnTo>
                  <a:lnTo>
                    <a:pt x="199" y="113"/>
                  </a:lnTo>
                  <a:lnTo>
                    <a:pt x="199" y="113"/>
                  </a:lnTo>
                  <a:lnTo>
                    <a:pt x="199" y="105"/>
                  </a:lnTo>
                  <a:lnTo>
                    <a:pt x="197" y="96"/>
                  </a:lnTo>
                  <a:lnTo>
                    <a:pt x="196" y="88"/>
                  </a:lnTo>
                  <a:lnTo>
                    <a:pt x="192" y="81"/>
                  </a:lnTo>
                  <a:lnTo>
                    <a:pt x="189" y="72"/>
                  </a:lnTo>
                  <a:lnTo>
                    <a:pt x="184" y="65"/>
                  </a:lnTo>
                  <a:lnTo>
                    <a:pt x="180" y="60"/>
                  </a:lnTo>
                  <a:lnTo>
                    <a:pt x="174" y="52"/>
                  </a:lnTo>
                  <a:lnTo>
                    <a:pt x="168" y="48"/>
                  </a:lnTo>
                  <a:lnTo>
                    <a:pt x="162" y="43"/>
                  </a:lnTo>
                  <a:lnTo>
                    <a:pt x="155" y="38"/>
                  </a:lnTo>
                  <a:lnTo>
                    <a:pt x="147" y="35"/>
                  </a:lnTo>
                  <a:lnTo>
                    <a:pt x="139" y="31"/>
                  </a:lnTo>
                  <a:lnTo>
                    <a:pt x="130" y="29"/>
                  </a:lnTo>
                  <a:lnTo>
                    <a:pt x="122" y="28"/>
                  </a:lnTo>
                  <a:lnTo>
                    <a:pt x="114" y="28"/>
                  </a:lnTo>
                  <a:lnTo>
                    <a:pt x="114" y="28"/>
                  </a:lnTo>
                  <a:lnTo>
                    <a:pt x="105" y="28"/>
                  </a:lnTo>
                  <a:lnTo>
                    <a:pt x="97" y="30"/>
                  </a:lnTo>
                  <a:lnTo>
                    <a:pt x="88" y="31"/>
                  </a:lnTo>
                  <a:lnTo>
                    <a:pt x="80" y="35"/>
                  </a:lnTo>
                  <a:lnTo>
                    <a:pt x="73" y="38"/>
                  </a:lnTo>
                  <a:lnTo>
                    <a:pt x="66" y="43"/>
                  </a:lnTo>
                  <a:lnTo>
                    <a:pt x="59" y="48"/>
                  </a:lnTo>
                  <a:lnTo>
                    <a:pt x="53" y="54"/>
                  </a:lnTo>
                  <a:lnTo>
                    <a:pt x="47" y="60"/>
                  </a:lnTo>
                  <a:lnTo>
                    <a:pt x="43" y="65"/>
                  </a:lnTo>
                  <a:lnTo>
                    <a:pt x="38" y="72"/>
                  </a:lnTo>
                  <a:lnTo>
                    <a:pt x="35" y="81"/>
                  </a:lnTo>
                  <a:lnTo>
                    <a:pt x="32" y="89"/>
                  </a:lnTo>
                  <a:lnTo>
                    <a:pt x="30" y="97"/>
                  </a:lnTo>
                  <a:lnTo>
                    <a:pt x="29" y="105"/>
                  </a:lnTo>
                  <a:lnTo>
                    <a:pt x="28" y="113"/>
                  </a:lnTo>
                  <a:lnTo>
                    <a:pt x="28" y="113"/>
                  </a:lnTo>
                  <a:lnTo>
                    <a:pt x="29" y="123"/>
                  </a:lnTo>
                  <a:lnTo>
                    <a:pt x="30" y="131"/>
                  </a:lnTo>
                  <a:lnTo>
                    <a:pt x="32" y="139"/>
                  </a:lnTo>
                  <a:lnTo>
                    <a:pt x="35" y="147"/>
                  </a:lnTo>
                  <a:lnTo>
                    <a:pt x="38" y="154"/>
                  </a:lnTo>
                  <a:lnTo>
                    <a:pt x="43" y="161"/>
                  </a:lnTo>
                  <a:lnTo>
                    <a:pt x="47" y="168"/>
                  </a:lnTo>
                  <a:lnTo>
                    <a:pt x="53" y="174"/>
                  </a:lnTo>
                  <a:lnTo>
                    <a:pt x="59" y="180"/>
                  </a:lnTo>
                  <a:lnTo>
                    <a:pt x="66" y="185"/>
                  </a:lnTo>
                  <a:lnTo>
                    <a:pt x="73" y="189"/>
                  </a:lnTo>
                  <a:lnTo>
                    <a:pt x="80" y="193"/>
                  </a:lnTo>
                  <a:lnTo>
                    <a:pt x="88" y="195"/>
                  </a:lnTo>
                  <a:lnTo>
                    <a:pt x="97" y="197"/>
                  </a:lnTo>
                  <a:lnTo>
                    <a:pt x="105" y="199"/>
                  </a:lnTo>
                  <a:lnTo>
                    <a:pt x="114" y="200"/>
                  </a:lnTo>
                  <a:lnTo>
                    <a:pt x="114" y="200"/>
                  </a:lnTo>
                  <a:lnTo>
                    <a:pt x="122" y="199"/>
                  </a:lnTo>
                  <a:lnTo>
                    <a:pt x="130" y="197"/>
                  </a:lnTo>
                  <a:lnTo>
                    <a:pt x="137" y="196"/>
                  </a:lnTo>
                  <a:lnTo>
                    <a:pt x="146" y="193"/>
                  </a:lnTo>
                  <a:lnTo>
                    <a:pt x="153" y="190"/>
                  </a:lnTo>
                  <a:lnTo>
                    <a:pt x="160" y="186"/>
                  </a:lnTo>
                  <a:lnTo>
                    <a:pt x="166" y="181"/>
                  </a:lnTo>
                  <a:lnTo>
                    <a:pt x="171" y="176"/>
                  </a:lnTo>
                  <a:lnTo>
                    <a:pt x="177" y="171"/>
                  </a:lnTo>
                  <a:lnTo>
                    <a:pt x="182" y="165"/>
                  </a:lnTo>
                  <a:lnTo>
                    <a:pt x="187" y="159"/>
                  </a:lnTo>
                  <a:lnTo>
                    <a:pt x="190" y="152"/>
                  </a:lnTo>
                  <a:lnTo>
                    <a:pt x="194" y="145"/>
                  </a:lnTo>
                  <a:lnTo>
                    <a:pt x="196" y="137"/>
                  </a:lnTo>
                  <a:lnTo>
                    <a:pt x="198" y="130"/>
                  </a:lnTo>
                  <a:lnTo>
                    <a:pt x="199" y="121"/>
                  </a:lnTo>
                  <a:lnTo>
                    <a:pt x="220" y="121"/>
                  </a:lnTo>
                  <a:lnTo>
                    <a:pt x="220" y="121"/>
                  </a:lnTo>
                  <a:lnTo>
                    <a:pt x="219" y="131"/>
                  </a:lnTo>
                  <a:lnTo>
                    <a:pt x="217" y="141"/>
                  </a:lnTo>
                  <a:lnTo>
                    <a:pt x="213" y="151"/>
                  </a:lnTo>
                  <a:lnTo>
                    <a:pt x="210" y="160"/>
                  </a:lnTo>
                  <a:lnTo>
                    <a:pt x="205" y="169"/>
                  </a:lnTo>
                  <a:lnTo>
                    <a:pt x="199" y="178"/>
                  </a:lnTo>
                  <a:lnTo>
                    <a:pt x="194" y="185"/>
                  </a:lnTo>
                  <a:lnTo>
                    <a:pt x="187" y="192"/>
                  </a:lnTo>
                  <a:lnTo>
                    <a:pt x="180" y="199"/>
                  </a:lnTo>
                  <a:lnTo>
                    <a:pt x="171" y="204"/>
                  </a:lnTo>
                  <a:lnTo>
                    <a:pt x="163" y="209"/>
                  </a:lnTo>
                  <a:lnTo>
                    <a:pt x="154" y="213"/>
                  </a:lnTo>
                  <a:lnTo>
                    <a:pt x="144" y="216"/>
                  </a:lnTo>
                  <a:lnTo>
                    <a:pt x="134" y="218"/>
                  </a:lnTo>
                  <a:lnTo>
                    <a:pt x="125" y="221"/>
                  </a:lnTo>
                  <a:lnTo>
                    <a:pt x="114" y="221"/>
                  </a:lnTo>
                  <a:lnTo>
                    <a:pt x="114" y="221"/>
                  </a:lnTo>
                  <a:close/>
                  <a:moveTo>
                    <a:pt x="171" y="113"/>
                  </a:moveTo>
                  <a:lnTo>
                    <a:pt x="171" y="113"/>
                  </a:lnTo>
                  <a:lnTo>
                    <a:pt x="169" y="102"/>
                  </a:lnTo>
                  <a:lnTo>
                    <a:pt x="167" y="91"/>
                  </a:lnTo>
                  <a:lnTo>
                    <a:pt x="161" y="82"/>
                  </a:lnTo>
                  <a:lnTo>
                    <a:pt x="154" y="74"/>
                  </a:lnTo>
                  <a:lnTo>
                    <a:pt x="146" y="67"/>
                  </a:lnTo>
                  <a:lnTo>
                    <a:pt x="136" y="61"/>
                  </a:lnTo>
                  <a:lnTo>
                    <a:pt x="125" y="57"/>
                  </a:lnTo>
                  <a:lnTo>
                    <a:pt x="114" y="56"/>
                  </a:lnTo>
                  <a:lnTo>
                    <a:pt x="114" y="56"/>
                  </a:lnTo>
                  <a:lnTo>
                    <a:pt x="102" y="57"/>
                  </a:lnTo>
                  <a:lnTo>
                    <a:pt x="92" y="61"/>
                  </a:lnTo>
                  <a:lnTo>
                    <a:pt x="81" y="67"/>
                  </a:lnTo>
                  <a:lnTo>
                    <a:pt x="73" y="74"/>
                  </a:lnTo>
                  <a:lnTo>
                    <a:pt x="66" y="82"/>
                  </a:lnTo>
                  <a:lnTo>
                    <a:pt x="61" y="91"/>
                  </a:lnTo>
                  <a:lnTo>
                    <a:pt x="58" y="102"/>
                  </a:lnTo>
                  <a:lnTo>
                    <a:pt x="57" y="113"/>
                  </a:lnTo>
                  <a:lnTo>
                    <a:pt x="57" y="113"/>
                  </a:lnTo>
                  <a:lnTo>
                    <a:pt x="58" y="125"/>
                  </a:lnTo>
                  <a:lnTo>
                    <a:pt x="61" y="135"/>
                  </a:lnTo>
                  <a:lnTo>
                    <a:pt x="66" y="146"/>
                  </a:lnTo>
                  <a:lnTo>
                    <a:pt x="73" y="154"/>
                  </a:lnTo>
                  <a:lnTo>
                    <a:pt x="81" y="161"/>
                  </a:lnTo>
                  <a:lnTo>
                    <a:pt x="92" y="166"/>
                  </a:lnTo>
                  <a:lnTo>
                    <a:pt x="102" y="169"/>
                  </a:lnTo>
                  <a:lnTo>
                    <a:pt x="114" y="171"/>
                  </a:lnTo>
                  <a:lnTo>
                    <a:pt x="114" y="171"/>
                  </a:lnTo>
                  <a:lnTo>
                    <a:pt x="125" y="169"/>
                  </a:lnTo>
                  <a:lnTo>
                    <a:pt x="134" y="167"/>
                  </a:lnTo>
                  <a:lnTo>
                    <a:pt x="143" y="162"/>
                  </a:lnTo>
                  <a:lnTo>
                    <a:pt x="151" y="157"/>
                  </a:lnTo>
                  <a:lnTo>
                    <a:pt x="158" y="149"/>
                  </a:lnTo>
                  <a:lnTo>
                    <a:pt x="164" y="140"/>
                  </a:lnTo>
                  <a:lnTo>
                    <a:pt x="168" y="131"/>
                  </a:lnTo>
                  <a:lnTo>
                    <a:pt x="170" y="121"/>
                  </a:lnTo>
                  <a:lnTo>
                    <a:pt x="192" y="121"/>
                  </a:lnTo>
                  <a:lnTo>
                    <a:pt x="192" y="121"/>
                  </a:lnTo>
                  <a:lnTo>
                    <a:pt x="191" y="128"/>
                  </a:lnTo>
                  <a:lnTo>
                    <a:pt x="189" y="135"/>
                  </a:lnTo>
                  <a:lnTo>
                    <a:pt x="184" y="149"/>
                  </a:lnTo>
                  <a:lnTo>
                    <a:pt x="176" y="161"/>
                  </a:lnTo>
                  <a:lnTo>
                    <a:pt x="167" y="172"/>
                  </a:lnTo>
                  <a:lnTo>
                    <a:pt x="155" y="180"/>
                  </a:lnTo>
                  <a:lnTo>
                    <a:pt x="142" y="187"/>
                  </a:lnTo>
                  <a:lnTo>
                    <a:pt x="128" y="190"/>
                  </a:lnTo>
                  <a:lnTo>
                    <a:pt x="121" y="192"/>
                  </a:lnTo>
                  <a:lnTo>
                    <a:pt x="114" y="193"/>
                  </a:lnTo>
                  <a:lnTo>
                    <a:pt x="114" y="193"/>
                  </a:lnTo>
                  <a:lnTo>
                    <a:pt x="106" y="192"/>
                  </a:lnTo>
                  <a:lnTo>
                    <a:pt x="98" y="190"/>
                  </a:lnTo>
                  <a:lnTo>
                    <a:pt x="91" y="188"/>
                  </a:lnTo>
                  <a:lnTo>
                    <a:pt x="84" y="186"/>
                  </a:lnTo>
                  <a:lnTo>
                    <a:pt x="77" y="182"/>
                  </a:lnTo>
                  <a:lnTo>
                    <a:pt x="70" y="179"/>
                  </a:lnTo>
                  <a:lnTo>
                    <a:pt x="64" y="174"/>
                  </a:lnTo>
                  <a:lnTo>
                    <a:pt x="58" y="169"/>
                  </a:lnTo>
                  <a:lnTo>
                    <a:pt x="53" y="164"/>
                  </a:lnTo>
                  <a:lnTo>
                    <a:pt x="49" y="158"/>
                  </a:lnTo>
                  <a:lnTo>
                    <a:pt x="45" y="151"/>
                  </a:lnTo>
                  <a:lnTo>
                    <a:pt x="42" y="144"/>
                  </a:lnTo>
                  <a:lnTo>
                    <a:pt x="38" y="137"/>
                  </a:lnTo>
                  <a:lnTo>
                    <a:pt x="37" y="130"/>
                  </a:lnTo>
                  <a:lnTo>
                    <a:pt x="36" y="121"/>
                  </a:lnTo>
                  <a:lnTo>
                    <a:pt x="35" y="113"/>
                  </a:lnTo>
                  <a:lnTo>
                    <a:pt x="35" y="113"/>
                  </a:lnTo>
                  <a:lnTo>
                    <a:pt x="36" y="105"/>
                  </a:lnTo>
                  <a:lnTo>
                    <a:pt x="37" y="98"/>
                  </a:lnTo>
                  <a:lnTo>
                    <a:pt x="38" y="90"/>
                  </a:lnTo>
                  <a:lnTo>
                    <a:pt x="42" y="83"/>
                  </a:lnTo>
                  <a:lnTo>
                    <a:pt x="45" y="76"/>
                  </a:lnTo>
                  <a:lnTo>
                    <a:pt x="49" y="70"/>
                  </a:lnTo>
                  <a:lnTo>
                    <a:pt x="53" y="64"/>
                  </a:lnTo>
                  <a:lnTo>
                    <a:pt x="58" y="58"/>
                  </a:lnTo>
                  <a:lnTo>
                    <a:pt x="64" y="52"/>
                  </a:lnTo>
                  <a:lnTo>
                    <a:pt x="70" y="49"/>
                  </a:lnTo>
                  <a:lnTo>
                    <a:pt x="77" y="44"/>
                  </a:lnTo>
                  <a:lnTo>
                    <a:pt x="84" y="41"/>
                  </a:lnTo>
                  <a:lnTo>
                    <a:pt x="91" y="38"/>
                  </a:lnTo>
                  <a:lnTo>
                    <a:pt x="98" y="36"/>
                  </a:lnTo>
                  <a:lnTo>
                    <a:pt x="106" y="35"/>
                  </a:lnTo>
                  <a:lnTo>
                    <a:pt x="114" y="35"/>
                  </a:lnTo>
                  <a:lnTo>
                    <a:pt x="114" y="35"/>
                  </a:lnTo>
                  <a:lnTo>
                    <a:pt x="122" y="35"/>
                  </a:lnTo>
                  <a:lnTo>
                    <a:pt x="129" y="36"/>
                  </a:lnTo>
                  <a:lnTo>
                    <a:pt x="137" y="38"/>
                  </a:lnTo>
                  <a:lnTo>
                    <a:pt x="144" y="41"/>
                  </a:lnTo>
                  <a:lnTo>
                    <a:pt x="151" y="44"/>
                  </a:lnTo>
                  <a:lnTo>
                    <a:pt x="157" y="49"/>
                  </a:lnTo>
                  <a:lnTo>
                    <a:pt x="163" y="52"/>
                  </a:lnTo>
                  <a:lnTo>
                    <a:pt x="169" y="58"/>
                  </a:lnTo>
                  <a:lnTo>
                    <a:pt x="174" y="64"/>
                  </a:lnTo>
                  <a:lnTo>
                    <a:pt x="178" y="70"/>
                  </a:lnTo>
                  <a:lnTo>
                    <a:pt x="183" y="76"/>
                  </a:lnTo>
                  <a:lnTo>
                    <a:pt x="187" y="83"/>
                  </a:lnTo>
                  <a:lnTo>
                    <a:pt x="189" y="90"/>
                  </a:lnTo>
                  <a:lnTo>
                    <a:pt x="190" y="98"/>
                  </a:lnTo>
                  <a:lnTo>
                    <a:pt x="191" y="105"/>
                  </a:lnTo>
                  <a:lnTo>
                    <a:pt x="192" y="113"/>
                  </a:lnTo>
                  <a:lnTo>
                    <a:pt x="171" y="113"/>
                  </a:lnTo>
                  <a:close/>
                  <a:moveTo>
                    <a:pt x="142" y="113"/>
                  </a:moveTo>
                  <a:lnTo>
                    <a:pt x="142" y="113"/>
                  </a:lnTo>
                  <a:lnTo>
                    <a:pt x="142" y="107"/>
                  </a:lnTo>
                  <a:lnTo>
                    <a:pt x="140" y="103"/>
                  </a:lnTo>
                  <a:lnTo>
                    <a:pt x="137" y="98"/>
                  </a:lnTo>
                  <a:lnTo>
                    <a:pt x="134" y="93"/>
                  </a:lnTo>
                  <a:lnTo>
                    <a:pt x="129" y="90"/>
                  </a:lnTo>
                  <a:lnTo>
                    <a:pt x="125" y="88"/>
                  </a:lnTo>
                  <a:lnTo>
                    <a:pt x="120" y="85"/>
                  </a:lnTo>
                  <a:lnTo>
                    <a:pt x="114" y="85"/>
                  </a:lnTo>
                  <a:lnTo>
                    <a:pt x="114" y="85"/>
                  </a:lnTo>
                  <a:lnTo>
                    <a:pt x="108" y="85"/>
                  </a:lnTo>
                  <a:lnTo>
                    <a:pt x="102" y="88"/>
                  </a:lnTo>
                  <a:lnTo>
                    <a:pt x="98" y="90"/>
                  </a:lnTo>
                  <a:lnTo>
                    <a:pt x="93" y="93"/>
                  </a:lnTo>
                  <a:lnTo>
                    <a:pt x="90" y="98"/>
                  </a:lnTo>
                  <a:lnTo>
                    <a:pt x="87" y="103"/>
                  </a:lnTo>
                  <a:lnTo>
                    <a:pt x="86" y="107"/>
                  </a:lnTo>
                  <a:lnTo>
                    <a:pt x="85" y="113"/>
                  </a:lnTo>
                  <a:lnTo>
                    <a:pt x="85" y="113"/>
                  </a:lnTo>
                  <a:lnTo>
                    <a:pt x="86" y="119"/>
                  </a:lnTo>
                  <a:lnTo>
                    <a:pt x="87" y="125"/>
                  </a:lnTo>
                  <a:lnTo>
                    <a:pt x="90" y="130"/>
                  </a:lnTo>
                  <a:lnTo>
                    <a:pt x="93" y="134"/>
                  </a:lnTo>
                  <a:lnTo>
                    <a:pt x="98" y="138"/>
                  </a:lnTo>
                  <a:lnTo>
                    <a:pt x="102" y="140"/>
                  </a:lnTo>
                  <a:lnTo>
                    <a:pt x="108" y="141"/>
                  </a:lnTo>
                  <a:lnTo>
                    <a:pt x="114" y="142"/>
                  </a:lnTo>
                  <a:lnTo>
                    <a:pt x="114" y="142"/>
                  </a:lnTo>
                  <a:lnTo>
                    <a:pt x="119" y="141"/>
                  </a:lnTo>
                  <a:lnTo>
                    <a:pt x="123" y="140"/>
                  </a:lnTo>
                  <a:lnTo>
                    <a:pt x="127" y="139"/>
                  </a:lnTo>
                  <a:lnTo>
                    <a:pt x="132" y="137"/>
                  </a:lnTo>
                  <a:lnTo>
                    <a:pt x="134" y="133"/>
                  </a:lnTo>
                  <a:lnTo>
                    <a:pt x="137" y="130"/>
                  </a:lnTo>
                  <a:lnTo>
                    <a:pt x="140" y="125"/>
                  </a:lnTo>
                  <a:lnTo>
                    <a:pt x="141" y="121"/>
                  </a:lnTo>
                  <a:lnTo>
                    <a:pt x="163" y="121"/>
                  </a:lnTo>
                  <a:lnTo>
                    <a:pt x="163" y="121"/>
                  </a:lnTo>
                  <a:lnTo>
                    <a:pt x="161" y="130"/>
                  </a:lnTo>
                  <a:lnTo>
                    <a:pt x="157" y="138"/>
                  </a:lnTo>
                  <a:lnTo>
                    <a:pt x="153" y="145"/>
                  </a:lnTo>
                  <a:lnTo>
                    <a:pt x="147" y="152"/>
                  </a:lnTo>
                  <a:lnTo>
                    <a:pt x="140" y="157"/>
                  </a:lnTo>
                  <a:lnTo>
                    <a:pt x="132" y="160"/>
                  </a:lnTo>
                  <a:lnTo>
                    <a:pt x="123" y="162"/>
                  </a:lnTo>
                  <a:lnTo>
                    <a:pt x="114" y="164"/>
                  </a:lnTo>
                  <a:lnTo>
                    <a:pt x="114" y="164"/>
                  </a:lnTo>
                  <a:lnTo>
                    <a:pt x="104" y="162"/>
                  </a:lnTo>
                  <a:lnTo>
                    <a:pt x="94" y="160"/>
                  </a:lnTo>
                  <a:lnTo>
                    <a:pt x="86" y="155"/>
                  </a:lnTo>
                  <a:lnTo>
                    <a:pt x="78" y="149"/>
                  </a:lnTo>
                  <a:lnTo>
                    <a:pt x="72" y="141"/>
                  </a:lnTo>
                  <a:lnTo>
                    <a:pt x="67" y="133"/>
                  </a:lnTo>
                  <a:lnTo>
                    <a:pt x="65" y="124"/>
                  </a:lnTo>
                  <a:lnTo>
                    <a:pt x="64" y="113"/>
                  </a:lnTo>
                  <a:lnTo>
                    <a:pt x="64" y="113"/>
                  </a:lnTo>
                  <a:lnTo>
                    <a:pt x="65" y="104"/>
                  </a:lnTo>
                  <a:lnTo>
                    <a:pt x="67" y="95"/>
                  </a:lnTo>
                  <a:lnTo>
                    <a:pt x="72" y="85"/>
                  </a:lnTo>
                  <a:lnTo>
                    <a:pt x="78" y="78"/>
                  </a:lnTo>
                  <a:lnTo>
                    <a:pt x="86" y="72"/>
                  </a:lnTo>
                  <a:lnTo>
                    <a:pt x="94" y="68"/>
                  </a:lnTo>
                  <a:lnTo>
                    <a:pt x="104" y="64"/>
                  </a:lnTo>
                  <a:lnTo>
                    <a:pt x="114" y="64"/>
                  </a:lnTo>
                  <a:lnTo>
                    <a:pt x="114" y="64"/>
                  </a:lnTo>
                  <a:lnTo>
                    <a:pt x="123" y="64"/>
                  </a:lnTo>
                  <a:lnTo>
                    <a:pt x="133" y="68"/>
                  </a:lnTo>
                  <a:lnTo>
                    <a:pt x="141" y="72"/>
                  </a:lnTo>
                  <a:lnTo>
                    <a:pt x="149" y="78"/>
                  </a:lnTo>
                  <a:lnTo>
                    <a:pt x="155" y="85"/>
                  </a:lnTo>
                  <a:lnTo>
                    <a:pt x="160" y="95"/>
                  </a:lnTo>
                  <a:lnTo>
                    <a:pt x="163" y="104"/>
                  </a:lnTo>
                  <a:lnTo>
                    <a:pt x="163" y="113"/>
                  </a:lnTo>
                  <a:lnTo>
                    <a:pt x="142" y="113"/>
                  </a:lnTo>
                  <a:close/>
                  <a:moveTo>
                    <a:pt x="118" y="121"/>
                  </a:moveTo>
                  <a:lnTo>
                    <a:pt x="134" y="121"/>
                  </a:lnTo>
                  <a:lnTo>
                    <a:pt x="134" y="121"/>
                  </a:lnTo>
                  <a:lnTo>
                    <a:pt x="130" y="126"/>
                  </a:lnTo>
                  <a:lnTo>
                    <a:pt x="126" y="131"/>
                  </a:lnTo>
                  <a:lnTo>
                    <a:pt x="120" y="134"/>
                  </a:lnTo>
                  <a:lnTo>
                    <a:pt x="114" y="135"/>
                  </a:lnTo>
                  <a:lnTo>
                    <a:pt x="114" y="135"/>
                  </a:lnTo>
                  <a:lnTo>
                    <a:pt x="109" y="134"/>
                  </a:lnTo>
                  <a:lnTo>
                    <a:pt x="106" y="133"/>
                  </a:lnTo>
                  <a:lnTo>
                    <a:pt x="101" y="132"/>
                  </a:lnTo>
                  <a:lnTo>
                    <a:pt x="99" y="128"/>
                  </a:lnTo>
                  <a:lnTo>
                    <a:pt x="95" y="126"/>
                  </a:lnTo>
                  <a:lnTo>
                    <a:pt x="94" y="121"/>
                  </a:lnTo>
                  <a:lnTo>
                    <a:pt x="93" y="118"/>
                  </a:lnTo>
                  <a:lnTo>
                    <a:pt x="92" y="113"/>
                  </a:lnTo>
                  <a:lnTo>
                    <a:pt x="92" y="113"/>
                  </a:lnTo>
                  <a:lnTo>
                    <a:pt x="93" y="110"/>
                  </a:lnTo>
                  <a:lnTo>
                    <a:pt x="94" y="105"/>
                  </a:lnTo>
                  <a:lnTo>
                    <a:pt x="95" y="102"/>
                  </a:lnTo>
                  <a:lnTo>
                    <a:pt x="99" y="98"/>
                  </a:lnTo>
                  <a:lnTo>
                    <a:pt x="101" y="96"/>
                  </a:lnTo>
                  <a:lnTo>
                    <a:pt x="106" y="93"/>
                  </a:lnTo>
                  <a:lnTo>
                    <a:pt x="109" y="92"/>
                  </a:lnTo>
                  <a:lnTo>
                    <a:pt x="114" y="92"/>
                  </a:lnTo>
                  <a:lnTo>
                    <a:pt x="114" y="92"/>
                  </a:lnTo>
                  <a:lnTo>
                    <a:pt x="118" y="92"/>
                  </a:lnTo>
                  <a:lnTo>
                    <a:pt x="122" y="93"/>
                  </a:lnTo>
                  <a:lnTo>
                    <a:pt x="126" y="96"/>
                  </a:lnTo>
                  <a:lnTo>
                    <a:pt x="129" y="98"/>
                  </a:lnTo>
                  <a:lnTo>
                    <a:pt x="132" y="102"/>
                  </a:lnTo>
                  <a:lnTo>
                    <a:pt x="133" y="105"/>
                  </a:lnTo>
                  <a:lnTo>
                    <a:pt x="135" y="109"/>
                  </a:lnTo>
                  <a:lnTo>
                    <a:pt x="135" y="113"/>
                  </a:lnTo>
                  <a:lnTo>
                    <a:pt x="118" y="113"/>
                  </a:lnTo>
                  <a:lnTo>
                    <a:pt x="118" y="113"/>
                  </a:lnTo>
                  <a:lnTo>
                    <a:pt x="114" y="114"/>
                  </a:lnTo>
                  <a:lnTo>
                    <a:pt x="113" y="117"/>
                  </a:lnTo>
                  <a:lnTo>
                    <a:pt x="113" y="117"/>
                  </a:lnTo>
                  <a:lnTo>
                    <a:pt x="114" y="120"/>
                  </a:lnTo>
                  <a:lnTo>
                    <a:pt x="118" y="121"/>
                  </a:lnTo>
                  <a:lnTo>
                    <a:pt x="118" y="121"/>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3" name="Rectangle 32">
              <a:extLst>
                <a:ext uri="{FF2B5EF4-FFF2-40B4-BE49-F238E27FC236}">
                  <a16:creationId xmlns:a16="http://schemas.microsoft.com/office/drawing/2014/main" id="{817759EF-2630-4C68-99F7-88681B5C012C}"/>
                </a:ext>
              </a:extLst>
            </p:cNvPr>
            <p:cNvSpPr/>
            <p:nvPr/>
          </p:nvSpPr>
          <p:spPr>
            <a:xfrm>
              <a:off x="6539432" y="4911175"/>
              <a:ext cx="5004868" cy="830997"/>
            </a:xfrm>
            <a:prstGeom prst="rect">
              <a:avLst/>
            </a:prstGeom>
          </p:spPr>
          <p:txBody>
            <a:bodyPr wrap="square">
              <a:spAutoFit/>
            </a:bodyPr>
            <a:lstStyle/>
            <a:p>
              <a:pPr>
                <a:buClr>
                  <a:srgbClr val="E24848"/>
                </a:buClr>
                <a:defRPr/>
              </a:pPr>
              <a:r>
                <a:rPr lang="en-US" sz="1200" noProof="1">
                  <a:solidFill>
                    <a:schemeClr val="tx1">
                      <a:lumMod val="50000"/>
                      <a:lumOff val="50000"/>
                    </a:schemeClr>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am erat volutpat. Lorem ipsum dolor sit amet, consectetur adipiscing elit. Nulla imperdiet volutpat dui at fermentum. Aliquam erat volutpa</a:t>
              </a:r>
            </a:p>
          </p:txBody>
        </p:sp>
        <p:sp>
          <p:nvSpPr>
            <p:cNvPr id="34" name="Title 11">
              <a:extLst>
                <a:ext uri="{FF2B5EF4-FFF2-40B4-BE49-F238E27FC236}">
                  <a16:creationId xmlns:a16="http://schemas.microsoft.com/office/drawing/2014/main" id="{38706AAC-3A63-48D6-AC5E-4C935D35ABA0}"/>
                </a:ext>
              </a:extLst>
            </p:cNvPr>
            <p:cNvSpPr txBox="1">
              <a:spLocks/>
            </p:cNvSpPr>
            <p:nvPr/>
          </p:nvSpPr>
          <p:spPr>
            <a:xfrm>
              <a:off x="6539431" y="4147810"/>
              <a:ext cx="2915824" cy="556076"/>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accent1"/>
                  </a:solidFill>
                  <a:latin typeface="Barlow ExtraBold" panose="00000900000000000000" pitchFamily="2" charset="0"/>
                  <a:ea typeface="Roboto" panose="02000000000000000000" pitchFamily="2" charset="0"/>
                  <a:cs typeface="Lato" panose="020F0502020204030203" pitchFamily="34" charset="0"/>
                </a:rPr>
                <a:t>Heads are </a:t>
              </a:r>
              <a:r>
                <a:rPr lang="en-US" sz="1800" b="1" dirty="0">
                  <a:solidFill>
                    <a:schemeClr val="tx1">
                      <a:lumMod val="85000"/>
                      <a:lumOff val="15000"/>
                    </a:schemeClr>
                  </a:solidFill>
                  <a:latin typeface="Barlow ExtraBold" panose="00000900000000000000" pitchFamily="2" charset="0"/>
                  <a:ea typeface="Roboto" panose="02000000000000000000" pitchFamily="2" charset="0"/>
                  <a:cs typeface="Lato" panose="020F0502020204030203" pitchFamily="34" charset="0"/>
                </a:rPr>
                <a:t>Gonne Roll</a:t>
              </a:r>
            </a:p>
          </p:txBody>
        </p:sp>
        <p:cxnSp>
          <p:nvCxnSpPr>
            <p:cNvPr id="35" name="Straight Connector 34">
              <a:extLst>
                <a:ext uri="{FF2B5EF4-FFF2-40B4-BE49-F238E27FC236}">
                  <a16:creationId xmlns:a16="http://schemas.microsoft.com/office/drawing/2014/main" id="{0CE0717B-6DC4-433D-9F1B-853FEBE36CBF}"/>
                </a:ext>
              </a:extLst>
            </p:cNvPr>
            <p:cNvCxnSpPr/>
            <p:nvPr/>
          </p:nvCxnSpPr>
          <p:spPr>
            <a:xfrm>
              <a:off x="6586931" y="4749293"/>
              <a:ext cx="2705805" cy="0"/>
            </a:xfrm>
            <a:prstGeom prst="line">
              <a:avLst/>
            </a:prstGeom>
            <a:ln>
              <a:solidFill>
                <a:srgbClr val="4472C4"/>
              </a:solidFill>
            </a:ln>
          </p:spPr>
          <p:style>
            <a:lnRef idx="1">
              <a:schemeClr val="accent1"/>
            </a:lnRef>
            <a:fillRef idx="0">
              <a:schemeClr val="accent1"/>
            </a:fillRef>
            <a:effectRef idx="0">
              <a:schemeClr val="accent1"/>
            </a:effectRef>
            <a:fontRef idx="minor">
              <a:schemeClr val="tx1"/>
            </a:fontRef>
          </p:style>
        </p:cxnSp>
      </p:grpSp>
      <p:pic>
        <p:nvPicPr>
          <p:cNvPr id="42" name="Picture Placeholder 41">
            <a:extLst>
              <a:ext uri="{FF2B5EF4-FFF2-40B4-BE49-F238E27FC236}">
                <a16:creationId xmlns:a16="http://schemas.microsoft.com/office/drawing/2014/main" id="{77366FC6-54D7-4F51-98CC-1FE932BFCEB9}"/>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t="44263" b="597"/>
          <a:stretch/>
        </p:blipFill>
        <p:spPr>
          <a:xfrm>
            <a:off x="6586930" y="2035631"/>
            <a:ext cx="4957369" cy="1821748"/>
          </a:xfrm>
          <a:ln w="19050">
            <a:solidFill>
              <a:srgbClr val="4472C4"/>
            </a:solidFill>
          </a:ln>
        </p:spPr>
      </p:pic>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300082" cy="215444"/>
          </a:xfrm>
          <a:prstGeom prst="rect">
            <a:avLst/>
          </a:prstGeom>
          <a:noFill/>
        </p:spPr>
        <p:txBody>
          <a:bodyPr wrap="none" rtlCol="0">
            <a:spAutoFit/>
          </a:bodyPr>
          <a:lstStyle/>
          <a:p>
            <a:r>
              <a:rPr lang="en-US" sz="800" dirty="0">
                <a:latin typeface="Barlow ExtraBold" panose="00000900000000000000" pitchFamily="2" charset="0"/>
              </a:rPr>
              <a:t>06</a:t>
            </a:r>
            <a:endParaRPr lang="en-PK" sz="800" dirty="0">
              <a:latin typeface="Barlow ExtraBold" panose="00000900000000000000" pitchFamily="2" charset="0"/>
            </a:endParaRPr>
          </a:p>
        </p:txBody>
      </p:sp>
    </p:spTree>
    <p:extLst>
      <p:ext uri="{BB962C8B-B14F-4D97-AF65-F5344CB8AC3E}">
        <p14:creationId xmlns:p14="http://schemas.microsoft.com/office/powerpoint/2010/main" val="887980955"/>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up)">
                                      <p:cBhvr>
                                        <p:cTn id="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295274" cy="215444"/>
          </a:xfrm>
          <a:prstGeom prst="rect">
            <a:avLst/>
          </a:prstGeom>
          <a:noFill/>
        </p:spPr>
        <p:txBody>
          <a:bodyPr wrap="none" rtlCol="0">
            <a:spAutoFit/>
          </a:bodyPr>
          <a:lstStyle/>
          <a:p>
            <a:r>
              <a:rPr lang="en-US" sz="800" dirty="0">
                <a:latin typeface="Barlow ExtraBold" panose="00000900000000000000" pitchFamily="2" charset="0"/>
              </a:rPr>
              <a:t>07</a:t>
            </a:r>
            <a:endParaRPr lang="en-PK" sz="800" dirty="0">
              <a:latin typeface="Barlow ExtraBold" panose="00000900000000000000" pitchFamily="2" charset="0"/>
            </a:endParaRPr>
          </a:p>
        </p:txBody>
      </p:sp>
      <p:sp>
        <p:nvSpPr>
          <p:cNvPr id="7" name="Title 11">
            <a:extLst>
              <a:ext uri="{FF2B5EF4-FFF2-40B4-BE49-F238E27FC236}">
                <a16:creationId xmlns:a16="http://schemas.microsoft.com/office/drawing/2014/main" id="{433D3B29-6CDC-406A-B8A3-B62CE92B4A47}"/>
              </a:ext>
            </a:extLst>
          </p:cNvPr>
          <p:cNvSpPr txBox="1">
            <a:spLocks/>
          </p:cNvSpPr>
          <p:nvPr/>
        </p:nvSpPr>
        <p:spPr>
          <a:xfrm>
            <a:off x="4235570" y="444840"/>
            <a:ext cx="3738112"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We Try </a:t>
            </a:r>
            <a:r>
              <a:rPr lang="en-US" sz="3600"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rPr>
              <a:t>Our Best</a:t>
            </a:r>
          </a:p>
        </p:txBody>
      </p:sp>
      <p:sp>
        <p:nvSpPr>
          <p:cNvPr id="8" name="Title 11">
            <a:extLst>
              <a:ext uri="{FF2B5EF4-FFF2-40B4-BE49-F238E27FC236}">
                <a16:creationId xmlns:a16="http://schemas.microsoft.com/office/drawing/2014/main" id="{E678B0BA-B837-45B0-B09B-49B8FC2782E8}"/>
              </a:ext>
            </a:extLst>
          </p:cNvPr>
          <p:cNvSpPr txBox="1">
            <a:spLocks/>
          </p:cNvSpPr>
          <p:nvPr/>
        </p:nvSpPr>
        <p:spPr>
          <a:xfrm>
            <a:off x="4387046" y="1076544"/>
            <a:ext cx="3435161" cy="192764"/>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100" dirty="0">
                <a:solidFill>
                  <a:schemeClr val="tx1">
                    <a:lumMod val="85000"/>
                    <a:lumOff val="15000"/>
                  </a:schemeClr>
                </a:solidFill>
                <a:latin typeface="Barlow" panose="00000500000000000000" pitchFamily="50" charset="0"/>
                <a:ea typeface="Roboto" panose="02000000000000000000" pitchFamily="2" charset="0"/>
                <a:cs typeface="Open Sans Light" panose="020B0306030504020204" pitchFamily="34" charset="0"/>
              </a:rPr>
              <a:t>Insert Your Creative Idea </a:t>
            </a:r>
          </a:p>
        </p:txBody>
      </p:sp>
      <p:grpSp>
        <p:nvGrpSpPr>
          <p:cNvPr id="17" name="Group 16">
            <a:extLst>
              <a:ext uri="{FF2B5EF4-FFF2-40B4-BE49-F238E27FC236}">
                <a16:creationId xmlns:a16="http://schemas.microsoft.com/office/drawing/2014/main" id="{5C19469B-17D0-43E0-B59F-A58BB38CA998}"/>
              </a:ext>
            </a:extLst>
          </p:cNvPr>
          <p:cNvGrpSpPr/>
          <p:nvPr/>
        </p:nvGrpSpPr>
        <p:grpSpPr>
          <a:xfrm>
            <a:off x="1155700" y="2029135"/>
            <a:ext cx="9624786" cy="3712928"/>
            <a:chOff x="1155700" y="2029135"/>
            <a:chExt cx="9624786" cy="3712928"/>
          </a:xfrm>
        </p:grpSpPr>
        <p:sp>
          <p:nvSpPr>
            <p:cNvPr id="9" name="Rectangle 8">
              <a:extLst>
                <a:ext uri="{FF2B5EF4-FFF2-40B4-BE49-F238E27FC236}">
                  <a16:creationId xmlns:a16="http://schemas.microsoft.com/office/drawing/2014/main" id="{C8EC2CD8-AAB0-455F-A7AB-FD36F50DBA01}"/>
                </a:ext>
              </a:extLst>
            </p:cNvPr>
            <p:cNvSpPr/>
            <p:nvPr/>
          </p:nvSpPr>
          <p:spPr>
            <a:xfrm>
              <a:off x="1155700" y="3242621"/>
              <a:ext cx="4109358" cy="584775"/>
            </a:xfrm>
            <a:prstGeom prst="rect">
              <a:avLst/>
            </a:prstGeom>
            <a:noFill/>
          </p:spPr>
          <p:txBody>
            <a:bodyPr wrap="square">
              <a:spAutoFit/>
            </a:bodyPr>
            <a:lstStyle/>
            <a:p>
              <a:r>
                <a:rPr lang="en-US" sz="1600" b="1" noProof="1">
                  <a:solidFill>
                    <a:schemeClr val="tx1">
                      <a:lumMod val="85000"/>
                      <a:lumOff val="15000"/>
                    </a:schemeClr>
                  </a:solidFill>
                  <a:latin typeface="Barlow ExtraBold" panose="00000900000000000000" pitchFamily="2" charset="0"/>
                  <a:ea typeface="Roboto Light" panose="02000000000000000000" pitchFamily="2" charset="0"/>
                  <a:cs typeface="Open Sans" panose="020B0606030504020204" pitchFamily="34" charset="0"/>
                </a:rPr>
                <a:t>WE LERN FROM THE BEST, SUCCESS SEEMS TO BE CONNECTED WITH ACTION  </a:t>
              </a:r>
            </a:p>
          </p:txBody>
        </p:sp>
        <p:sp>
          <p:nvSpPr>
            <p:cNvPr id="10" name="Rectangle 9">
              <a:extLst>
                <a:ext uri="{FF2B5EF4-FFF2-40B4-BE49-F238E27FC236}">
                  <a16:creationId xmlns:a16="http://schemas.microsoft.com/office/drawing/2014/main" id="{93020A7C-F977-465F-A5FE-F72BB0E2D7DB}"/>
                </a:ext>
              </a:extLst>
            </p:cNvPr>
            <p:cNvSpPr/>
            <p:nvPr/>
          </p:nvSpPr>
          <p:spPr>
            <a:xfrm>
              <a:off x="1155700" y="4357068"/>
              <a:ext cx="3996871" cy="1384995"/>
            </a:xfrm>
            <a:prstGeom prst="rect">
              <a:avLst/>
            </a:prstGeom>
          </p:spPr>
          <p:txBody>
            <a:bodyPr wrap="square">
              <a:spAutoFit/>
            </a:bodyPr>
            <a:lstStyle/>
            <a:p>
              <a:pPr>
                <a:buClr>
                  <a:srgbClr val="E24848"/>
                </a:buClr>
                <a:defRPr/>
              </a:pPr>
              <a:r>
                <a:rPr lang="en-US" sz="1400" noProof="1">
                  <a:solidFill>
                    <a:schemeClr val="tx1">
                      <a:lumMod val="85000"/>
                      <a:lumOff val="15000"/>
                    </a:schemeClr>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11" name="Rectangle 10">
              <a:extLst>
                <a:ext uri="{FF2B5EF4-FFF2-40B4-BE49-F238E27FC236}">
                  <a16:creationId xmlns:a16="http://schemas.microsoft.com/office/drawing/2014/main" id="{A47D8562-0D5F-4196-A86C-70B96EFB5375}"/>
                </a:ext>
              </a:extLst>
            </p:cNvPr>
            <p:cNvSpPr/>
            <p:nvPr/>
          </p:nvSpPr>
          <p:spPr>
            <a:xfrm>
              <a:off x="1277257" y="2879425"/>
              <a:ext cx="901700" cy="159491"/>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6073166-A06E-47F2-B5DF-3F020E6336EC}"/>
                </a:ext>
              </a:extLst>
            </p:cNvPr>
            <p:cNvSpPr/>
            <p:nvPr/>
          </p:nvSpPr>
          <p:spPr>
            <a:xfrm>
              <a:off x="6671128" y="3242621"/>
              <a:ext cx="4109358" cy="584775"/>
            </a:xfrm>
            <a:prstGeom prst="rect">
              <a:avLst/>
            </a:prstGeom>
            <a:noFill/>
          </p:spPr>
          <p:txBody>
            <a:bodyPr wrap="square">
              <a:spAutoFit/>
            </a:bodyPr>
            <a:lstStyle/>
            <a:p>
              <a:r>
                <a:rPr lang="en-US" sz="1600" b="1" noProof="1">
                  <a:solidFill>
                    <a:schemeClr val="tx1">
                      <a:lumMod val="85000"/>
                      <a:lumOff val="15000"/>
                    </a:schemeClr>
                  </a:solidFill>
                  <a:latin typeface="Barlow ExtraBold" panose="00000900000000000000" pitchFamily="2" charset="0"/>
                  <a:ea typeface="Roboto Light" panose="02000000000000000000" pitchFamily="2" charset="0"/>
                  <a:cs typeface="Open Sans" panose="020B0606030504020204" pitchFamily="34" charset="0"/>
                </a:rPr>
                <a:t>WE LERN FROM THE BEST, SUCCESS SEEMS TO BE CONNECTED WITH ACTION  </a:t>
              </a:r>
            </a:p>
          </p:txBody>
        </p:sp>
        <p:sp>
          <p:nvSpPr>
            <p:cNvPr id="13" name="Rectangle 12">
              <a:extLst>
                <a:ext uri="{FF2B5EF4-FFF2-40B4-BE49-F238E27FC236}">
                  <a16:creationId xmlns:a16="http://schemas.microsoft.com/office/drawing/2014/main" id="{B67827A6-4605-49E4-83E5-B11F89FF5E02}"/>
                </a:ext>
              </a:extLst>
            </p:cNvPr>
            <p:cNvSpPr/>
            <p:nvPr/>
          </p:nvSpPr>
          <p:spPr>
            <a:xfrm>
              <a:off x="6671128" y="4357068"/>
              <a:ext cx="3996871" cy="1384995"/>
            </a:xfrm>
            <a:prstGeom prst="rect">
              <a:avLst/>
            </a:prstGeom>
          </p:spPr>
          <p:txBody>
            <a:bodyPr wrap="square">
              <a:spAutoFit/>
            </a:bodyPr>
            <a:lstStyle/>
            <a:p>
              <a:pPr>
                <a:buClr>
                  <a:srgbClr val="E24848"/>
                </a:buClr>
                <a:defRPr/>
              </a:pPr>
              <a:r>
                <a:rPr lang="en-US" sz="1400" noProof="1">
                  <a:solidFill>
                    <a:schemeClr val="tx1">
                      <a:lumMod val="85000"/>
                      <a:lumOff val="15000"/>
                    </a:schemeClr>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14" name="Rectangle 13">
              <a:extLst>
                <a:ext uri="{FF2B5EF4-FFF2-40B4-BE49-F238E27FC236}">
                  <a16:creationId xmlns:a16="http://schemas.microsoft.com/office/drawing/2014/main" id="{D7EE86DC-13C6-4177-B14A-333158DEBC9F}"/>
                </a:ext>
              </a:extLst>
            </p:cNvPr>
            <p:cNvSpPr/>
            <p:nvPr/>
          </p:nvSpPr>
          <p:spPr>
            <a:xfrm>
              <a:off x="6792685" y="2879425"/>
              <a:ext cx="901700" cy="159491"/>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06CBADB6-1CC7-4326-A35F-00BBBBAA51A9}"/>
                </a:ext>
              </a:extLst>
            </p:cNvPr>
            <p:cNvSpPr txBox="1">
              <a:spLocks/>
            </p:cNvSpPr>
            <p:nvPr/>
          </p:nvSpPr>
          <p:spPr>
            <a:xfrm>
              <a:off x="1198467" y="2029135"/>
              <a:ext cx="1014930" cy="769441"/>
            </a:xfrm>
            <a:prstGeom prst="rect">
              <a:avLst/>
            </a:prstGeom>
            <a:noFill/>
          </p:spPr>
          <p:txBody>
            <a:bodyPr wrap="square">
              <a:no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ctr"/>
              <a:r>
                <a:rPr lang="en-US" sz="4400" b="1" spc="-300" dirty="0">
                  <a:solidFill>
                    <a:schemeClr val="tx1">
                      <a:lumMod val="85000"/>
                      <a:lumOff val="15000"/>
                    </a:schemeClr>
                  </a:solidFill>
                  <a:latin typeface="Barlow ExtraBold" panose="00000900000000000000" pitchFamily="2" charset="0"/>
                </a:rPr>
                <a:t>01</a:t>
              </a:r>
            </a:p>
          </p:txBody>
        </p:sp>
        <p:sp>
          <p:nvSpPr>
            <p:cNvPr id="16" name="Title 1">
              <a:extLst>
                <a:ext uri="{FF2B5EF4-FFF2-40B4-BE49-F238E27FC236}">
                  <a16:creationId xmlns:a16="http://schemas.microsoft.com/office/drawing/2014/main" id="{397B8EA4-D3F3-432F-9E92-C3AC321CF3EE}"/>
                </a:ext>
              </a:extLst>
            </p:cNvPr>
            <p:cNvSpPr txBox="1">
              <a:spLocks/>
            </p:cNvSpPr>
            <p:nvPr/>
          </p:nvSpPr>
          <p:spPr>
            <a:xfrm>
              <a:off x="6703816" y="2029135"/>
              <a:ext cx="1014930" cy="850290"/>
            </a:xfrm>
            <a:prstGeom prst="rect">
              <a:avLst/>
            </a:prstGeom>
            <a:noFill/>
          </p:spPr>
          <p:txBody>
            <a:bodyPr wrap="square">
              <a:no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ctr"/>
              <a:r>
                <a:rPr lang="en-US" sz="4400" b="1" spc="-300" dirty="0">
                  <a:solidFill>
                    <a:schemeClr val="tx1">
                      <a:lumMod val="85000"/>
                      <a:lumOff val="15000"/>
                    </a:schemeClr>
                  </a:solidFill>
                  <a:latin typeface="Barlow ExtraBold" panose="00000900000000000000" pitchFamily="2" charset="0"/>
                </a:rPr>
                <a:t>02</a:t>
              </a:r>
            </a:p>
          </p:txBody>
        </p:sp>
      </p:grpSp>
    </p:spTree>
    <p:extLst>
      <p:ext uri="{BB962C8B-B14F-4D97-AF65-F5344CB8AC3E}">
        <p14:creationId xmlns:p14="http://schemas.microsoft.com/office/powerpoint/2010/main" val="493836136"/>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865977B9-9290-4B82-A340-686FB3D7DC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466" r="2466"/>
          <a:stretch>
            <a:fillRect/>
          </a:stretch>
        </p:blipFill>
        <p:spPr>
          <a:ln w="19050">
            <a:solidFill>
              <a:srgbClr val="4472C4"/>
            </a:solidFill>
          </a:ln>
        </p:spPr>
      </p:pic>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300082" cy="215444"/>
          </a:xfrm>
          <a:prstGeom prst="rect">
            <a:avLst/>
          </a:prstGeom>
          <a:noFill/>
        </p:spPr>
        <p:txBody>
          <a:bodyPr wrap="none" rtlCol="0">
            <a:spAutoFit/>
          </a:bodyPr>
          <a:lstStyle/>
          <a:p>
            <a:r>
              <a:rPr lang="en-US" sz="800" dirty="0">
                <a:latin typeface="Barlow ExtraBold" panose="00000900000000000000" pitchFamily="2" charset="0"/>
              </a:rPr>
              <a:t>08</a:t>
            </a:r>
            <a:endParaRPr lang="en-PK" sz="800" dirty="0">
              <a:latin typeface="Barlow ExtraBold" panose="00000900000000000000" pitchFamily="2" charset="0"/>
            </a:endParaRPr>
          </a:p>
        </p:txBody>
      </p:sp>
      <p:sp>
        <p:nvSpPr>
          <p:cNvPr id="8" name="Title 11">
            <a:extLst>
              <a:ext uri="{FF2B5EF4-FFF2-40B4-BE49-F238E27FC236}">
                <a16:creationId xmlns:a16="http://schemas.microsoft.com/office/drawing/2014/main" id="{D2F40AF2-1971-4876-BBBC-B77A7AC64B3A}"/>
              </a:ext>
            </a:extLst>
          </p:cNvPr>
          <p:cNvSpPr txBox="1">
            <a:spLocks/>
          </p:cNvSpPr>
          <p:nvPr/>
        </p:nvSpPr>
        <p:spPr>
          <a:xfrm>
            <a:off x="596899" y="446071"/>
            <a:ext cx="2479675" cy="801890"/>
          </a:xfrm>
          <a:prstGeom prst="rect">
            <a:avLst/>
          </a:prstGeom>
        </p:spPr>
        <p:txBody>
          <a:bodyPr vert="horz" wrap="square"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spc="-150" dirty="0">
                <a:solidFill>
                  <a:schemeClr val="accent1"/>
                </a:solidFill>
                <a:latin typeface="Barlow ExtraBold" panose="00000900000000000000" pitchFamily="2" charset="0"/>
                <a:ea typeface="Roboto" panose="02000000000000000000" pitchFamily="2" charset="0"/>
                <a:cs typeface="Times New Roman" panose="02020603050405020304" pitchFamily="18" charset="0"/>
              </a:rPr>
              <a:t>Dashboard</a:t>
            </a:r>
            <a:endParaRPr lang="en-US" sz="3600" spc="-150" dirty="0">
              <a:solidFill>
                <a:schemeClr val="tx1">
                  <a:lumMod val="85000"/>
                  <a:lumOff val="15000"/>
                </a:schemeClr>
              </a:solidFill>
              <a:latin typeface="Barlow ExtraBold" panose="00000900000000000000" pitchFamily="2" charset="0"/>
              <a:ea typeface="Roboto" panose="02000000000000000000" pitchFamily="2" charset="0"/>
              <a:cs typeface="Times New Roman" panose="02020603050405020304" pitchFamily="18" charset="0"/>
            </a:endParaRPr>
          </a:p>
        </p:txBody>
      </p:sp>
      <p:sp>
        <p:nvSpPr>
          <p:cNvPr id="9" name="Title 11">
            <a:extLst>
              <a:ext uri="{FF2B5EF4-FFF2-40B4-BE49-F238E27FC236}">
                <a16:creationId xmlns:a16="http://schemas.microsoft.com/office/drawing/2014/main" id="{1F1FDFA8-AA25-4335-BA79-6FBFC8FF5949}"/>
              </a:ext>
            </a:extLst>
          </p:cNvPr>
          <p:cNvSpPr txBox="1">
            <a:spLocks/>
          </p:cNvSpPr>
          <p:nvPr/>
        </p:nvSpPr>
        <p:spPr>
          <a:xfrm>
            <a:off x="596899" y="1151578"/>
            <a:ext cx="1717676" cy="194953"/>
          </a:xfrm>
          <a:prstGeom prst="rect">
            <a:avLst/>
          </a:prstGeom>
        </p:spPr>
        <p:txBody>
          <a:bodyPr vert="horz" lIns="91416" tIns="45708" rIns="91416" bIns="4570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tx1">
                    <a:lumMod val="85000"/>
                    <a:lumOff val="15000"/>
                  </a:schemeClr>
                </a:solidFill>
                <a:ea typeface="Roboto" panose="02000000000000000000" pitchFamily="2" charset="0"/>
                <a:cs typeface="Open Sans Light" panose="020B0306030504020204" pitchFamily="34" charset="0"/>
              </a:rPr>
              <a:t>Insert Your Creative Idea </a:t>
            </a:r>
          </a:p>
        </p:txBody>
      </p:sp>
      <p:grpSp>
        <p:nvGrpSpPr>
          <p:cNvPr id="16" name="Group 15">
            <a:extLst>
              <a:ext uri="{FF2B5EF4-FFF2-40B4-BE49-F238E27FC236}">
                <a16:creationId xmlns:a16="http://schemas.microsoft.com/office/drawing/2014/main" id="{BEE5194E-0B38-4FD9-9825-3079C355C890}"/>
              </a:ext>
            </a:extLst>
          </p:cNvPr>
          <p:cNvGrpSpPr/>
          <p:nvPr/>
        </p:nvGrpSpPr>
        <p:grpSpPr>
          <a:xfrm>
            <a:off x="6224294" y="608404"/>
            <a:ext cx="5599406" cy="3251200"/>
            <a:chOff x="6224294" y="608404"/>
            <a:chExt cx="5599406" cy="3251200"/>
          </a:xfrm>
        </p:grpSpPr>
        <p:sp>
          <p:nvSpPr>
            <p:cNvPr id="7" name="Rectangle 6">
              <a:extLst>
                <a:ext uri="{FF2B5EF4-FFF2-40B4-BE49-F238E27FC236}">
                  <a16:creationId xmlns:a16="http://schemas.microsoft.com/office/drawing/2014/main" id="{D81D9E5B-08A8-44C8-9964-CAFFA2D73463}"/>
                </a:ext>
              </a:extLst>
            </p:cNvPr>
            <p:cNvSpPr/>
            <p:nvPr/>
          </p:nvSpPr>
          <p:spPr>
            <a:xfrm>
              <a:off x="6224294" y="608404"/>
              <a:ext cx="5599406" cy="3251200"/>
            </a:xfrm>
            <a:prstGeom prst="rect">
              <a:avLst/>
            </a:prstGeom>
            <a:solidFill>
              <a:srgbClr val="4472C4"/>
            </a:solidFill>
            <a:ln>
              <a:noFill/>
            </a:ln>
            <a:effectLst>
              <a:outerShdw blurRad="1270000" dist="2159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Rectangle 9">
              <a:extLst>
                <a:ext uri="{FF2B5EF4-FFF2-40B4-BE49-F238E27FC236}">
                  <a16:creationId xmlns:a16="http://schemas.microsoft.com/office/drawing/2014/main" id="{9C52C3D4-D17D-4245-BB29-01DAA871D620}"/>
                </a:ext>
              </a:extLst>
            </p:cNvPr>
            <p:cNvSpPr/>
            <p:nvPr/>
          </p:nvSpPr>
          <p:spPr>
            <a:xfrm>
              <a:off x="6547618" y="1162236"/>
              <a:ext cx="5216056" cy="1015663"/>
            </a:xfrm>
            <a:prstGeom prst="rect">
              <a:avLst/>
            </a:prstGeom>
            <a:noFill/>
          </p:spPr>
          <p:txBody>
            <a:bodyPr wrap="square">
              <a:spAutoFit/>
            </a:bodyPr>
            <a:lstStyle/>
            <a:p>
              <a:r>
                <a:rPr lang="en-US" sz="2800" spc="-150" noProof="1">
                  <a:solidFill>
                    <a:schemeClr val="bg1"/>
                  </a:solidFill>
                  <a:latin typeface="Barlow" panose="00000500000000000000" pitchFamily="50" charset="0"/>
                  <a:ea typeface="Roboto Light" panose="02000000000000000000" pitchFamily="2" charset="0"/>
                  <a:cs typeface="Open Sans" panose="020B0606030504020204" pitchFamily="34" charset="0"/>
                </a:rPr>
                <a:t>Success Seems To Be </a:t>
              </a:r>
            </a:p>
            <a:p>
              <a:r>
                <a:rPr lang="en-US" sz="3200" b="1" spc="-150" noProof="1">
                  <a:solidFill>
                    <a:schemeClr val="bg1"/>
                  </a:solidFill>
                  <a:latin typeface="Barlow ExtraBold" panose="00000900000000000000" pitchFamily="2" charset="0"/>
                  <a:ea typeface="Roboto Light" panose="02000000000000000000" pitchFamily="2" charset="0"/>
                  <a:cs typeface="Open Sans" panose="020B0606030504020204" pitchFamily="34" charset="0"/>
                </a:rPr>
                <a:t>Connected With Action  </a:t>
              </a:r>
            </a:p>
          </p:txBody>
        </p:sp>
        <p:sp>
          <p:nvSpPr>
            <p:cNvPr id="11" name="Rectangle 10">
              <a:extLst>
                <a:ext uri="{FF2B5EF4-FFF2-40B4-BE49-F238E27FC236}">
                  <a16:creationId xmlns:a16="http://schemas.microsoft.com/office/drawing/2014/main" id="{05416CC6-DD36-4A02-A797-6D9D8F01F774}"/>
                </a:ext>
              </a:extLst>
            </p:cNvPr>
            <p:cNvSpPr/>
            <p:nvPr/>
          </p:nvSpPr>
          <p:spPr>
            <a:xfrm>
              <a:off x="6547618" y="2385129"/>
              <a:ext cx="4818882" cy="830997"/>
            </a:xfrm>
            <a:prstGeom prst="rect">
              <a:avLst/>
            </a:prstGeom>
          </p:spPr>
          <p:txBody>
            <a:bodyPr wrap="square">
              <a:spAutoFit/>
            </a:bodyPr>
            <a:lstStyle/>
            <a:p>
              <a:pPr>
                <a:buClr>
                  <a:srgbClr val="E24848"/>
                </a:buClr>
                <a:defRPr/>
              </a:pPr>
              <a:r>
                <a:rPr lang="en-US" sz="1200" noProof="1">
                  <a:solidFill>
                    <a:schemeClr val="bg1"/>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 Aliquaam erat volutpat. Lorem ipsum dolor sit amet, consectetur adipiscing elit. Nulla imperdiet volutpat dui at fermentum. Aliquam erat volutpa</a:t>
              </a:r>
            </a:p>
          </p:txBody>
        </p:sp>
      </p:grpSp>
      <p:graphicFrame>
        <p:nvGraphicFramePr>
          <p:cNvPr id="12" name="Chart 11">
            <a:extLst>
              <a:ext uri="{FF2B5EF4-FFF2-40B4-BE49-F238E27FC236}">
                <a16:creationId xmlns:a16="http://schemas.microsoft.com/office/drawing/2014/main" id="{F7A001DE-BCAC-4597-85EF-75B556A7515F}"/>
              </a:ext>
            </a:extLst>
          </p:cNvPr>
          <p:cNvGraphicFramePr/>
          <p:nvPr>
            <p:extLst>
              <p:ext uri="{D42A27DB-BD31-4B8C-83A1-F6EECF244321}">
                <p14:modId xmlns:p14="http://schemas.microsoft.com/office/powerpoint/2010/main" val="4271238103"/>
              </p:ext>
            </p:extLst>
          </p:nvPr>
        </p:nvGraphicFramePr>
        <p:xfrm>
          <a:off x="6772809" y="3925075"/>
          <a:ext cx="4990865" cy="22375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13155238"/>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558696FC-2506-4F09-BD0F-F69892379FD3}"/>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2887" b="12887"/>
          <a:stretch>
            <a:fillRect/>
          </a:stretch>
        </p:blipFill>
        <p:spPr/>
      </p:pic>
      <p:sp>
        <p:nvSpPr>
          <p:cNvPr id="2" name="Rectangle 1">
            <a:extLst>
              <a:ext uri="{FF2B5EF4-FFF2-40B4-BE49-F238E27FC236}">
                <a16:creationId xmlns:a16="http://schemas.microsoft.com/office/drawing/2014/main" id="{A1083865-43EB-4C78-91BA-911FCDB01607}"/>
              </a:ext>
            </a:extLst>
          </p:cNvPr>
          <p:cNvSpPr/>
          <p:nvPr/>
        </p:nvSpPr>
        <p:spPr>
          <a:xfrm>
            <a:off x="2017" y="6666059"/>
            <a:ext cx="12189983" cy="206419"/>
          </a:xfrm>
          <a:prstGeom prst="rect">
            <a:avLst/>
          </a:prstGeom>
          <a:solidFill>
            <a:srgbClr val="2A34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ounded Rectangle 23">
            <a:extLst>
              <a:ext uri="{FF2B5EF4-FFF2-40B4-BE49-F238E27FC236}">
                <a16:creationId xmlns:a16="http://schemas.microsoft.com/office/drawing/2014/main" id="{20F52D79-1527-463C-89BA-D77DCCC3572C}"/>
              </a:ext>
            </a:extLst>
          </p:cNvPr>
          <p:cNvSpPr/>
          <p:nvPr/>
        </p:nvSpPr>
        <p:spPr>
          <a:xfrm>
            <a:off x="5056966" y="6530678"/>
            <a:ext cx="2078068" cy="222924"/>
          </a:xfrm>
          <a:prstGeom prst="roundRect">
            <a:avLst>
              <a:gd name="adj"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lumMod val="75000"/>
                  <a:lumOff val="25000"/>
                </a:schemeClr>
              </a:solidFill>
              <a:latin typeface="+mj-lt"/>
            </a:endParaRPr>
          </a:p>
        </p:txBody>
      </p:sp>
      <p:sp>
        <p:nvSpPr>
          <p:cNvPr id="4" name="Date Placeholder 1">
            <a:extLst>
              <a:ext uri="{FF2B5EF4-FFF2-40B4-BE49-F238E27FC236}">
                <a16:creationId xmlns:a16="http://schemas.microsoft.com/office/drawing/2014/main" id="{246D25FD-90D9-4EB4-9C25-7D91CA1B3A4B}"/>
              </a:ext>
            </a:extLst>
          </p:cNvPr>
          <p:cNvSpPr txBox="1">
            <a:spLocks/>
          </p:cNvSpPr>
          <p:nvPr>
            <p:custDataLst>
              <p:tags r:id="rId1"/>
            </p:custDataLst>
          </p:nvPr>
        </p:nvSpPr>
        <p:spPr>
          <a:xfrm>
            <a:off x="5056966" y="6498667"/>
            <a:ext cx="1505556" cy="287899"/>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Barlow" panose="00000500000000000000" pitchFamily="50" charset="0"/>
                <a:ea typeface="Open Sans Light" panose="020B0306030504020204" pitchFamily="34" charset="0"/>
                <a:cs typeface="Open Sans Light" panose="020B0306030504020204" pitchFamily="34" charset="0"/>
              </a:rPr>
              <a:t>www.yourcompanyname.com</a:t>
            </a:r>
          </a:p>
        </p:txBody>
      </p:sp>
      <p:cxnSp>
        <p:nvCxnSpPr>
          <p:cNvPr id="5" name="Straight Connector 4">
            <a:extLst>
              <a:ext uri="{FF2B5EF4-FFF2-40B4-BE49-F238E27FC236}">
                <a16:creationId xmlns:a16="http://schemas.microsoft.com/office/drawing/2014/main" id="{FB0586E0-4987-41E8-B2CB-AD53BAEDA43F}"/>
              </a:ext>
            </a:extLst>
          </p:cNvPr>
          <p:cNvCxnSpPr/>
          <p:nvPr/>
        </p:nvCxnSpPr>
        <p:spPr>
          <a:xfrm>
            <a:off x="6512721" y="6567488"/>
            <a:ext cx="0" cy="1547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35FC0F-8A7A-4A7F-8FD1-DFB57E2659B2}"/>
              </a:ext>
            </a:extLst>
          </p:cNvPr>
          <p:cNvSpPr txBox="1"/>
          <p:nvPr/>
        </p:nvSpPr>
        <p:spPr>
          <a:xfrm>
            <a:off x="6631781" y="6538158"/>
            <a:ext cx="298480" cy="215444"/>
          </a:xfrm>
          <a:prstGeom prst="rect">
            <a:avLst/>
          </a:prstGeom>
          <a:noFill/>
        </p:spPr>
        <p:txBody>
          <a:bodyPr wrap="none" rtlCol="0">
            <a:spAutoFit/>
          </a:bodyPr>
          <a:lstStyle/>
          <a:p>
            <a:r>
              <a:rPr lang="en-US" sz="800" dirty="0">
                <a:latin typeface="Barlow ExtraBold" panose="00000900000000000000" pitchFamily="2" charset="0"/>
              </a:rPr>
              <a:t>09</a:t>
            </a:r>
            <a:endParaRPr lang="en-PK" sz="800" dirty="0">
              <a:latin typeface="Barlow ExtraBold" panose="00000900000000000000" pitchFamily="2" charset="0"/>
            </a:endParaRPr>
          </a:p>
        </p:txBody>
      </p:sp>
      <p:grpSp>
        <p:nvGrpSpPr>
          <p:cNvPr id="18" name="Group 17">
            <a:extLst>
              <a:ext uri="{FF2B5EF4-FFF2-40B4-BE49-F238E27FC236}">
                <a16:creationId xmlns:a16="http://schemas.microsoft.com/office/drawing/2014/main" id="{B943FD77-D048-4EDF-BF4A-02D9C311F1F3}"/>
              </a:ext>
            </a:extLst>
          </p:cNvPr>
          <p:cNvGrpSpPr/>
          <p:nvPr/>
        </p:nvGrpSpPr>
        <p:grpSpPr>
          <a:xfrm>
            <a:off x="7188200" y="3732002"/>
            <a:ext cx="4533900" cy="2667000"/>
            <a:chOff x="7188200" y="3732002"/>
            <a:chExt cx="4533900" cy="2667000"/>
          </a:xfrm>
        </p:grpSpPr>
        <p:sp>
          <p:nvSpPr>
            <p:cNvPr id="7" name="Rectangle 6">
              <a:extLst>
                <a:ext uri="{FF2B5EF4-FFF2-40B4-BE49-F238E27FC236}">
                  <a16:creationId xmlns:a16="http://schemas.microsoft.com/office/drawing/2014/main" id="{F0BB04B7-8B74-47AD-8796-DDF40B3BB730}"/>
                </a:ext>
              </a:extLst>
            </p:cNvPr>
            <p:cNvSpPr/>
            <p:nvPr/>
          </p:nvSpPr>
          <p:spPr>
            <a:xfrm flipH="1">
              <a:off x="7188200" y="3732002"/>
              <a:ext cx="4533900" cy="2667000"/>
            </a:xfrm>
            <a:prstGeom prst="rect">
              <a:avLst/>
            </a:prstGeom>
            <a:solidFill>
              <a:schemeClr val="accent1"/>
            </a:solidFill>
            <a:ln>
              <a:noFill/>
            </a:ln>
            <a:effectLst>
              <a:outerShdw blurRad="1270000" dist="2159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8" name="Text Placeholder 2">
              <a:extLst>
                <a:ext uri="{FF2B5EF4-FFF2-40B4-BE49-F238E27FC236}">
                  <a16:creationId xmlns:a16="http://schemas.microsoft.com/office/drawing/2014/main" id="{455B4825-42DE-40D0-AB8B-54E3CA7750CD}"/>
                </a:ext>
              </a:extLst>
            </p:cNvPr>
            <p:cNvSpPr txBox="1">
              <a:spLocks/>
            </p:cNvSpPr>
            <p:nvPr/>
          </p:nvSpPr>
          <p:spPr>
            <a:xfrm>
              <a:off x="10037010" y="5019778"/>
              <a:ext cx="1522447" cy="50713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400" b="1" dirty="0">
                  <a:solidFill>
                    <a:schemeClr val="bg1"/>
                  </a:solidFill>
                  <a:latin typeface="Barlow ExtraBold" panose="00000900000000000000" pitchFamily="2" charset="0"/>
                  <a:ea typeface="Open Sans" panose="020B0606030504020204" pitchFamily="34" charset="0"/>
                  <a:cs typeface="Lato" panose="020F0502020204030203" pitchFamily="34" charset="0"/>
                </a:rPr>
                <a:t>158</a:t>
              </a:r>
              <a:r>
                <a:rPr lang="id-ID" sz="2400" b="1" dirty="0">
                  <a:solidFill>
                    <a:schemeClr val="bg1"/>
                  </a:solidFill>
                  <a:latin typeface="Barlow ExtraBold" panose="00000900000000000000" pitchFamily="2" charset="0"/>
                  <a:ea typeface="Open Sans" panose="020B0606030504020204" pitchFamily="34" charset="0"/>
                  <a:cs typeface="Lato" panose="020F0502020204030203" pitchFamily="34" charset="0"/>
                </a:rPr>
                <a:t>000+</a:t>
              </a:r>
            </a:p>
          </p:txBody>
        </p:sp>
        <p:sp>
          <p:nvSpPr>
            <p:cNvPr id="9" name="Text Placeholder 2">
              <a:extLst>
                <a:ext uri="{FF2B5EF4-FFF2-40B4-BE49-F238E27FC236}">
                  <a16:creationId xmlns:a16="http://schemas.microsoft.com/office/drawing/2014/main" id="{63D175B5-E0EA-41BC-BF15-0633FC33BB2E}"/>
                </a:ext>
              </a:extLst>
            </p:cNvPr>
            <p:cNvSpPr txBox="1">
              <a:spLocks/>
            </p:cNvSpPr>
            <p:nvPr/>
          </p:nvSpPr>
          <p:spPr>
            <a:xfrm>
              <a:off x="10059588" y="5418549"/>
              <a:ext cx="1522448" cy="34556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id-ID" sz="1400" dirty="0">
                  <a:solidFill>
                    <a:schemeClr val="bg1"/>
                  </a:solidFill>
                  <a:latin typeface="Barlow" panose="00000500000000000000" pitchFamily="50" charset="0"/>
                  <a:ea typeface="Open Sans" panose="020B0606030504020204" pitchFamily="34" charset="0"/>
                  <a:cs typeface="Lato" panose="020F0502020204030203" pitchFamily="34" charset="0"/>
                </a:rPr>
                <a:t>STRATEGY</a:t>
              </a:r>
            </a:p>
          </p:txBody>
        </p:sp>
        <p:sp>
          <p:nvSpPr>
            <p:cNvPr id="10" name="Shape 6350">
              <a:extLst>
                <a:ext uri="{FF2B5EF4-FFF2-40B4-BE49-F238E27FC236}">
                  <a16:creationId xmlns:a16="http://schemas.microsoft.com/office/drawing/2014/main" id="{09F1165A-903F-4BB2-B1CE-BF836E3E6CE2}"/>
                </a:ext>
              </a:extLst>
            </p:cNvPr>
            <p:cNvSpPr/>
            <p:nvPr/>
          </p:nvSpPr>
          <p:spPr>
            <a:xfrm>
              <a:off x="7518848" y="4008221"/>
              <a:ext cx="2582313" cy="1080788"/>
            </a:xfrm>
            <a:prstGeom prst="rect">
              <a:avLst/>
            </a:prstGeom>
            <a:extLst>
              <a:ext uri="{C572A759-6A51-4108-AA02-DFA0A04FC94B}">
                <ma14:wrappingTextBoxFlag xmlns:ma14="http://schemas.microsoft.com/office/mac/drawingml/2011/main" xmlns="" val="1"/>
              </a:ext>
            </a:extLst>
          </p:spPr>
          <p:txBody>
            <a:bodyPr vert="horz" wrap="square" lIns="91416" tIns="45708" rIns="91416" bIns="45708" rtlCol="0" anchor="ctr">
              <a:noAutofit/>
            </a:bodyPr>
            <a:lstStyle/>
            <a:p>
              <a:pPr>
                <a:lnSpc>
                  <a:spcPct val="90000"/>
                </a:lnSpc>
                <a:spcBef>
                  <a:spcPct val="0"/>
                </a:spcBef>
              </a:pPr>
              <a:r>
                <a:rPr lang="en-US" sz="3600" b="1" spc="-150" dirty="0">
                  <a:solidFill>
                    <a:schemeClr val="bg1"/>
                  </a:solidFill>
                  <a:latin typeface="Barlow ExtraBold" panose="00000900000000000000" pitchFamily="2" charset="0"/>
                  <a:ea typeface="Roboto" panose="02000000000000000000" pitchFamily="2" charset="0"/>
                  <a:cs typeface="Times New Roman" panose="02020603050405020304" pitchFamily="18" charset="0"/>
                </a:rPr>
                <a:t>Marketing</a:t>
              </a:r>
            </a:p>
            <a:p>
              <a:pPr>
                <a:lnSpc>
                  <a:spcPct val="90000"/>
                </a:lnSpc>
                <a:spcBef>
                  <a:spcPct val="0"/>
                </a:spcBef>
              </a:pPr>
              <a:r>
                <a:rPr lang="en-US" sz="3600" b="1" spc="-150" dirty="0">
                  <a:solidFill>
                    <a:schemeClr val="bg1"/>
                  </a:solidFill>
                  <a:latin typeface="Barlow ExtraBold" panose="00000900000000000000" pitchFamily="2" charset="0"/>
                  <a:ea typeface="Roboto" panose="02000000000000000000" pitchFamily="2" charset="0"/>
                  <a:cs typeface="Times New Roman" panose="02020603050405020304" pitchFamily="18" charset="0"/>
                </a:rPr>
                <a:t>Solution</a:t>
              </a:r>
            </a:p>
          </p:txBody>
        </p:sp>
        <p:sp>
          <p:nvSpPr>
            <p:cNvPr id="11" name="Rectangle 10">
              <a:extLst>
                <a:ext uri="{FF2B5EF4-FFF2-40B4-BE49-F238E27FC236}">
                  <a16:creationId xmlns:a16="http://schemas.microsoft.com/office/drawing/2014/main" id="{9A80A58B-EF15-4965-ACDE-6E757A13D9A3}"/>
                </a:ext>
              </a:extLst>
            </p:cNvPr>
            <p:cNvSpPr/>
            <p:nvPr/>
          </p:nvSpPr>
          <p:spPr>
            <a:xfrm>
              <a:off x="7518848" y="5089009"/>
              <a:ext cx="1933651" cy="921593"/>
            </a:xfrm>
            <a:prstGeom prst="rect">
              <a:avLst/>
            </a:prstGeom>
          </p:spPr>
          <p:txBody>
            <a:bodyPr wrap="square">
              <a:noAutofit/>
            </a:bodyPr>
            <a:lstStyle/>
            <a:p>
              <a:pPr>
                <a:spcBef>
                  <a:spcPts val="600"/>
                </a:spcBef>
                <a:buClr>
                  <a:srgbClr val="E24848"/>
                </a:buClr>
                <a:defRPr/>
              </a:pPr>
              <a:r>
                <a:rPr lang="en-US" sz="1100" noProof="1">
                  <a:solidFill>
                    <a:schemeClr val="bg1"/>
                  </a:solidFill>
                  <a:latin typeface="Barlow" panose="00000500000000000000" pitchFamily="50" charset="0"/>
                  <a:ea typeface="Open Sans Light" panose="020B0306030504020204" pitchFamily="34" charset="0"/>
                  <a:cs typeface="Open Sans Light" panose="020B0306030504020204" pitchFamily="34" charset="0"/>
                </a:rPr>
                <a:t>Lorem ipsum dolor sit amet, consectetur adipiscing elit. Nulla imperdiet volutpat dui at fermentum</a:t>
              </a:r>
            </a:p>
          </p:txBody>
        </p:sp>
        <p:grpSp>
          <p:nvGrpSpPr>
            <p:cNvPr id="12" name="Group 11">
              <a:extLst>
                <a:ext uri="{FF2B5EF4-FFF2-40B4-BE49-F238E27FC236}">
                  <a16:creationId xmlns:a16="http://schemas.microsoft.com/office/drawing/2014/main" id="{F542000A-11FA-45EB-A9B8-B583799877BB}"/>
                </a:ext>
              </a:extLst>
            </p:cNvPr>
            <p:cNvGrpSpPr/>
            <p:nvPr/>
          </p:nvGrpSpPr>
          <p:grpSpPr>
            <a:xfrm>
              <a:off x="10642541" y="4069910"/>
              <a:ext cx="594607" cy="766169"/>
              <a:chOff x="3650983" y="1830703"/>
              <a:chExt cx="540552" cy="696517"/>
            </a:xfrm>
            <a:solidFill>
              <a:schemeClr val="bg1"/>
            </a:solidFill>
          </p:grpSpPr>
          <p:sp>
            <p:nvSpPr>
              <p:cNvPr id="13" name="Freeform 39">
                <a:extLst>
                  <a:ext uri="{FF2B5EF4-FFF2-40B4-BE49-F238E27FC236}">
                    <a16:creationId xmlns:a16="http://schemas.microsoft.com/office/drawing/2014/main" id="{680F72CF-6EEB-40E8-88C7-E5C7790EDBFE}"/>
                  </a:ext>
                </a:extLst>
              </p:cNvPr>
              <p:cNvSpPr>
                <a:spLocks noEditPoints="1"/>
              </p:cNvSpPr>
              <p:nvPr/>
            </p:nvSpPr>
            <p:spPr bwMode="auto">
              <a:xfrm>
                <a:off x="3792522" y="1989466"/>
                <a:ext cx="257480" cy="205985"/>
              </a:xfrm>
              <a:custGeom>
                <a:avLst/>
                <a:gdLst/>
                <a:ahLst/>
                <a:cxnLst>
                  <a:cxn ang="0">
                    <a:pos x="25" y="5"/>
                  </a:cxn>
                  <a:cxn ang="0">
                    <a:pos x="48" y="5"/>
                  </a:cxn>
                  <a:cxn ang="0">
                    <a:pos x="48" y="11"/>
                  </a:cxn>
                  <a:cxn ang="0">
                    <a:pos x="53" y="11"/>
                  </a:cxn>
                  <a:cxn ang="0">
                    <a:pos x="53" y="4"/>
                  </a:cxn>
                  <a:cxn ang="0">
                    <a:pos x="48" y="0"/>
                  </a:cxn>
                  <a:cxn ang="0">
                    <a:pos x="24" y="0"/>
                  </a:cxn>
                  <a:cxn ang="0">
                    <a:pos x="20" y="4"/>
                  </a:cxn>
                  <a:cxn ang="0">
                    <a:pos x="20" y="11"/>
                  </a:cxn>
                  <a:cxn ang="0">
                    <a:pos x="25" y="11"/>
                  </a:cxn>
                  <a:cxn ang="0">
                    <a:pos x="25" y="5"/>
                  </a:cxn>
                  <a:cxn ang="0">
                    <a:pos x="0" y="19"/>
                  </a:cxn>
                  <a:cxn ang="0">
                    <a:pos x="0" y="53"/>
                  </a:cxn>
                  <a:cxn ang="0">
                    <a:pos x="5" y="58"/>
                  </a:cxn>
                  <a:cxn ang="0">
                    <a:pos x="10" y="58"/>
                  </a:cxn>
                  <a:cxn ang="0">
                    <a:pos x="10" y="14"/>
                  </a:cxn>
                  <a:cxn ang="0">
                    <a:pos x="5" y="14"/>
                  </a:cxn>
                  <a:cxn ang="0">
                    <a:pos x="0" y="19"/>
                  </a:cxn>
                  <a:cxn ang="0">
                    <a:pos x="14" y="58"/>
                  </a:cxn>
                  <a:cxn ang="0">
                    <a:pos x="59" y="58"/>
                  </a:cxn>
                  <a:cxn ang="0">
                    <a:pos x="59" y="14"/>
                  </a:cxn>
                  <a:cxn ang="0">
                    <a:pos x="14" y="14"/>
                  </a:cxn>
                  <a:cxn ang="0">
                    <a:pos x="14" y="58"/>
                  </a:cxn>
                  <a:cxn ang="0">
                    <a:pos x="67" y="14"/>
                  </a:cxn>
                  <a:cxn ang="0">
                    <a:pos x="63" y="14"/>
                  </a:cxn>
                  <a:cxn ang="0">
                    <a:pos x="63" y="58"/>
                  </a:cxn>
                  <a:cxn ang="0">
                    <a:pos x="67" y="58"/>
                  </a:cxn>
                  <a:cxn ang="0">
                    <a:pos x="72" y="53"/>
                  </a:cxn>
                  <a:cxn ang="0">
                    <a:pos x="72" y="19"/>
                  </a:cxn>
                  <a:cxn ang="0">
                    <a:pos x="67" y="14"/>
                  </a:cxn>
                </a:cxnLst>
                <a:rect l="0" t="0" r="r" b="b"/>
                <a:pathLst>
                  <a:path w="72" h="58">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id-ID"/>
              </a:p>
            </p:txBody>
          </p:sp>
          <p:sp>
            <p:nvSpPr>
              <p:cNvPr id="14" name="Oval 115">
                <a:extLst>
                  <a:ext uri="{FF2B5EF4-FFF2-40B4-BE49-F238E27FC236}">
                    <a16:creationId xmlns:a16="http://schemas.microsoft.com/office/drawing/2014/main" id="{F931B8C7-B2AC-4AB2-A1F7-22A2BEBDB6CE}"/>
                  </a:ext>
                </a:extLst>
              </p:cNvPr>
              <p:cNvSpPr/>
              <p:nvPr/>
            </p:nvSpPr>
            <p:spPr>
              <a:xfrm>
                <a:off x="3650983" y="1830703"/>
                <a:ext cx="540552" cy="696517"/>
              </a:xfrm>
              <a:custGeom>
                <a:avLst/>
                <a:gdLst/>
                <a:ahLst/>
                <a:cxnLst/>
                <a:rect l="l" t="t" r="r" b="b"/>
                <a:pathLst>
                  <a:path w="375850" h="484294">
                    <a:moveTo>
                      <a:pt x="187925" y="54568"/>
                    </a:moveTo>
                    <a:cubicBezTo>
                      <a:pt x="115003" y="54568"/>
                      <a:pt x="55888" y="114274"/>
                      <a:pt x="55888" y="187925"/>
                    </a:cubicBezTo>
                    <a:cubicBezTo>
                      <a:pt x="55888" y="261576"/>
                      <a:pt x="115003" y="321282"/>
                      <a:pt x="187925" y="321282"/>
                    </a:cubicBezTo>
                    <a:cubicBezTo>
                      <a:pt x="260847" y="321282"/>
                      <a:pt x="319962" y="261576"/>
                      <a:pt x="319962" y="187925"/>
                    </a:cubicBezTo>
                    <a:cubicBezTo>
                      <a:pt x="319962" y="114274"/>
                      <a:pt x="260847" y="54568"/>
                      <a:pt x="187925" y="54568"/>
                    </a:cubicBezTo>
                    <a:close/>
                    <a:moveTo>
                      <a:pt x="187925" y="0"/>
                    </a:moveTo>
                    <a:cubicBezTo>
                      <a:pt x="291713" y="0"/>
                      <a:pt x="375850" y="84137"/>
                      <a:pt x="375850" y="187925"/>
                    </a:cubicBezTo>
                    <a:cubicBezTo>
                      <a:pt x="375850" y="249640"/>
                      <a:pt x="346101" y="304407"/>
                      <a:pt x="298206" y="336047"/>
                    </a:cubicBezTo>
                    <a:cubicBezTo>
                      <a:pt x="300731" y="336436"/>
                      <a:pt x="302082" y="338164"/>
                      <a:pt x="303125" y="340158"/>
                    </a:cubicBezTo>
                    <a:lnTo>
                      <a:pt x="359838" y="448620"/>
                    </a:lnTo>
                    <a:cubicBezTo>
                      <a:pt x="364631" y="457786"/>
                      <a:pt x="361085" y="469104"/>
                      <a:pt x="351919" y="473897"/>
                    </a:cubicBezTo>
                    <a:lnTo>
                      <a:pt x="336116" y="482159"/>
                    </a:lnTo>
                    <a:cubicBezTo>
                      <a:pt x="326950" y="486952"/>
                      <a:pt x="315633" y="483407"/>
                      <a:pt x="310840" y="474240"/>
                    </a:cubicBezTo>
                    <a:lnTo>
                      <a:pt x="254127" y="365779"/>
                    </a:lnTo>
                    <a:lnTo>
                      <a:pt x="253906" y="363307"/>
                    </a:lnTo>
                    <a:cubicBezTo>
                      <a:pt x="233528" y="371611"/>
                      <a:pt x="211222" y="375850"/>
                      <a:pt x="187925" y="375850"/>
                    </a:cubicBezTo>
                    <a:cubicBezTo>
                      <a:pt x="84137" y="375850"/>
                      <a:pt x="0" y="291713"/>
                      <a:pt x="0" y="187925"/>
                    </a:cubicBezTo>
                    <a:cubicBezTo>
                      <a:pt x="0" y="84137"/>
                      <a:pt x="84137" y="0"/>
                      <a:pt x="187925" y="0"/>
                    </a:cubicBezTo>
                    <a:close/>
                  </a:path>
                </a:pathLst>
              </a:custGeom>
              <a:grpFill/>
              <a:ln w="9525">
                <a:noFill/>
                <a:round/>
                <a:headEnd/>
                <a:tailEnd/>
              </a:ln>
              <a:scene3d>
                <a:camera prst="orthographicFront"/>
                <a:lightRig rig="threePt" dir="t"/>
              </a:scene3d>
              <a:sp3d prstMaterial="matte">
                <a:extrusionClr>
                  <a:srgbClr val="FF9966"/>
                </a:extrusionClr>
              </a:sp3d>
            </p:spPr>
            <p:txBody>
              <a:bodyPr/>
              <a:lstStyle/>
              <a:p>
                <a:pPr algn="ctr"/>
                <a:endParaRPr lang="id-ID">
                  <a:latin typeface="Arial" pitchFamily="34" charset="0"/>
                  <a:ea typeface="MS PGothic" pitchFamily="34" charset="-128"/>
                  <a:cs typeface="Arial" pitchFamily="34" charset="0"/>
                </a:endParaRPr>
              </a:p>
            </p:txBody>
          </p:sp>
        </p:grpSp>
      </p:grpSp>
    </p:spTree>
    <p:extLst>
      <p:ext uri="{BB962C8B-B14F-4D97-AF65-F5344CB8AC3E}">
        <p14:creationId xmlns:p14="http://schemas.microsoft.com/office/powerpoint/2010/main" val="2888940536"/>
      </p:ext>
    </p:ext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TotalTime>
  <Words>764</Words>
  <Application>Microsoft Office PowerPoint</Application>
  <PresentationFormat>Widescreen</PresentationFormat>
  <Paragraphs>83</Paragraphs>
  <Slides>10</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0</vt:i4>
      </vt:variant>
    </vt:vector>
  </HeadingPairs>
  <TitlesOfParts>
    <vt:vector size="19" baseType="lpstr">
      <vt:lpstr>Arial</vt:lpstr>
      <vt:lpstr>Barlow</vt:lpstr>
      <vt:lpstr>Barlow ExtraBold</vt:lpstr>
      <vt:lpstr>Calibri</vt:lpstr>
      <vt:lpstr>Calibri Light</vt:lpstr>
      <vt:lpstr>Freestyle Script</vt:lpstr>
      <vt:lpstr>Montserrat</vt:lpstr>
      <vt:lpstr>Montserrat Ligh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heer Khan</dc:creator>
  <cp:lastModifiedBy>Shaheer Khan</cp:lastModifiedBy>
  <cp:revision>14</cp:revision>
  <dcterms:created xsi:type="dcterms:W3CDTF">2019-07-18T16:02:13Z</dcterms:created>
  <dcterms:modified xsi:type="dcterms:W3CDTF">2019-07-18T16:55:51Z</dcterms:modified>
</cp:coreProperties>
</file>